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3">
  <p:sldMasterIdLst>
    <p:sldMasterId id="2147483678" r:id="rId1"/>
    <p:sldMasterId id="2147483695" r:id="rId2"/>
  </p:sldMasterIdLst>
  <p:notesMasterIdLst>
    <p:notesMasterId r:id="rId6"/>
  </p:notesMasterIdLst>
  <p:sldIdLst>
    <p:sldId id="259" r:id="rId3"/>
    <p:sldId id="262" r:id="rId4"/>
    <p:sldId id="1718" r:id="rId5"/>
  </p:sldIdLst>
  <p:sldSz cx="12192000" cy="6858000"/>
  <p:notesSz cx="6858000" cy="9144000"/>
  <p:defaultTextStyle>
    <a:defPPr>
      <a:defRPr lang="es-A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lter Lucci" initials="WL" lastIdx="1" clrIdx="0">
    <p:extLst>
      <p:ext uri="{19B8F6BF-5375-455C-9EA6-DF929625EA0E}">
        <p15:presenceInfo xmlns:p15="http://schemas.microsoft.com/office/powerpoint/2012/main" userId="f2cb053a23b028e3" providerId="Windows Live"/>
      </p:ext>
    </p:extLst>
  </p:cmAuthor>
  <p:cmAuthor id="2" name="Michael Vega Baltodano" initials="MVB" lastIdx="1" clrIdx="1">
    <p:extLst>
      <p:ext uri="{19B8F6BF-5375-455C-9EA6-DF929625EA0E}">
        <p15:presenceInfo xmlns:p15="http://schemas.microsoft.com/office/powerpoint/2012/main" userId="S::nvega@sedapal.com.pe::67477b39-a24e-452a-b80d-fea21cbed73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3C0C"/>
    <a:srgbClr val="FFFFFF"/>
    <a:srgbClr val="9CCA7C"/>
    <a:srgbClr val="F9FB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Estilo claro 2 - Acento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24" autoAdjust="0"/>
    <p:restoredTop sz="94719" autoAdjust="0"/>
  </p:normalViewPr>
  <p:slideViewPr>
    <p:cSldViewPr snapToGrid="0" snapToObjects="1">
      <p:cViewPr>
        <p:scale>
          <a:sx n="50" d="100"/>
          <a:sy n="50" d="100"/>
        </p:scale>
        <p:origin x="1800" y="6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1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customXml" Target="../customXml/item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Relationship Id="rId14" Type="http://schemas.openxmlformats.org/officeDocument/2006/relationships/customXml" Target="../customXml/item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colás Gaspari" userId="978425e37181ab08" providerId="LiveId" clId="{8F2EEA0C-7C64-4F58-AC0E-114B89D152F8}"/>
    <pc:docChg chg="modSld">
      <pc:chgData name="Nicolás Gaspari" userId="978425e37181ab08" providerId="LiveId" clId="{8F2EEA0C-7C64-4F58-AC0E-114B89D152F8}" dt="2022-06-29T18:41:45.509" v="0"/>
      <pc:docMkLst>
        <pc:docMk/>
      </pc:docMkLst>
      <pc:sldChg chg="modSp mod">
        <pc:chgData name="Nicolás Gaspari" userId="978425e37181ab08" providerId="LiveId" clId="{8F2EEA0C-7C64-4F58-AC0E-114B89D152F8}" dt="2022-06-29T18:41:45.509" v="0"/>
        <pc:sldMkLst>
          <pc:docMk/>
          <pc:sldMk cId="1940027674" sldId="262"/>
        </pc:sldMkLst>
        <pc:spChg chg="mod">
          <ac:chgData name="Nicolás Gaspari" userId="978425e37181ab08" providerId="LiveId" clId="{8F2EEA0C-7C64-4F58-AC0E-114B89D152F8}" dt="2022-06-29T18:41:45.509" v="0"/>
          <ac:spMkLst>
            <pc:docMk/>
            <pc:sldMk cId="1940027674" sldId="262"/>
            <ac:spMk id="25" creationId="{00000000-0000-0000-0000-000000000000}"/>
          </ac:spMkLst>
        </pc:spChg>
      </pc:sldChg>
    </pc:docChg>
  </pc:docChgLst>
  <pc:docChgLst>
    <pc:chgData name="Nicolás Gaspari" userId="978425e37181ab08" providerId="LiveId" clId="{F21CD7F8-EF44-44E7-9DA0-2936CBC89467}"/>
    <pc:docChg chg="undo custSel addSld delSld modSld">
      <pc:chgData name="Nicolás Gaspari" userId="978425e37181ab08" providerId="LiveId" clId="{F21CD7F8-EF44-44E7-9DA0-2936CBC89467}" dt="2022-06-06T20:14:42.584" v="159" actId="1036"/>
      <pc:docMkLst>
        <pc:docMk/>
      </pc:docMkLst>
      <pc:sldChg chg="modSp del mod">
        <pc:chgData name="Nicolás Gaspari" userId="978425e37181ab08" providerId="LiveId" clId="{F21CD7F8-EF44-44E7-9DA0-2936CBC89467}" dt="2022-06-06T19:36:46.759" v="4" actId="47"/>
        <pc:sldMkLst>
          <pc:docMk/>
          <pc:sldMk cId="4123944492" sldId="260"/>
        </pc:sldMkLst>
        <pc:spChg chg="mod">
          <ac:chgData name="Nicolás Gaspari" userId="978425e37181ab08" providerId="LiveId" clId="{F21CD7F8-EF44-44E7-9DA0-2936CBC89467}" dt="2022-06-06T19:35:15.679" v="3" actId="27636"/>
          <ac:spMkLst>
            <pc:docMk/>
            <pc:sldMk cId="4123944492" sldId="260"/>
            <ac:spMk id="3" creationId="{D03BD551-E915-486B-8FA3-4E43EBFFE588}"/>
          </ac:spMkLst>
        </pc:spChg>
      </pc:sldChg>
      <pc:sldChg chg="modSp mod">
        <pc:chgData name="Nicolás Gaspari" userId="978425e37181ab08" providerId="LiveId" clId="{F21CD7F8-EF44-44E7-9DA0-2936CBC89467}" dt="2022-06-06T20:10:48.154" v="35" actId="207"/>
        <pc:sldMkLst>
          <pc:docMk/>
          <pc:sldMk cId="1940027674" sldId="262"/>
        </pc:sldMkLst>
        <pc:spChg chg="mod">
          <ac:chgData name="Nicolás Gaspari" userId="978425e37181ab08" providerId="LiveId" clId="{F21CD7F8-EF44-44E7-9DA0-2936CBC89467}" dt="2022-06-06T20:10:48.154" v="35" actId="207"/>
          <ac:spMkLst>
            <pc:docMk/>
            <pc:sldMk cId="1940027674" sldId="262"/>
            <ac:spMk id="55" creationId="{00000000-0000-0000-0000-000000000000}"/>
          </ac:spMkLst>
        </pc:spChg>
      </pc:sldChg>
      <pc:sldChg chg="addSp delSp modSp add del mod setBg">
        <pc:chgData name="Nicolás Gaspari" userId="978425e37181ab08" providerId="LiveId" clId="{F21CD7F8-EF44-44E7-9DA0-2936CBC89467}" dt="2022-06-06T20:14:42.584" v="159" actId="1036"/>
        <pc:sldMkLst>
          <pc:docMk/>
          <pc:sldMk cId="1713388557" sldId="1718"/>
        </pc:sldMkLst>
        <pc:spChg chg="mod">
          <ac:chgData name="Nicolás Gaspari" userId="978425e37181ab08" providerId="LiveId" clId="{F21CD7F8-EF44-44E7-9DA0-2936CBC89467}" dt="2022-06-06T20:07:12.453" v="23" actId="6549"/>
          <ac:spMkLst>
            <pc:docMk/>
            <pc:sldMk cId="1713388557" sldId="1718"/>
            <ac:spMk id="47" creationId="{00000000-0000-0000-0000-000000000000}"/>
          </ac:spMkLst>
        </pc:spChg>
        <pc:spChg chg="mod">
          <ac:chgData name="Nicolás Gaspari" userId="978425e37181ab08" providerId="LiveId" clId="{F21CD7F8-EF44-44E7-9DA0-2936CBC89467}" dt="2022-06-06T20:12:41.975" v="77" actId="6549"/>
          <ac:spMkLst>
            <pc:docMk/>
            <pc:sldMk cId="1713388557" sldId="1718"/>
            <ac:spMk id="53" creationId="{00000000-0000-0000-0000-000000000000}"/>
          </ac:spMkLst>
        </pc:spChg>
        <pc:spChg chg="mod">
          <ac:chgData name="Nicolás Gaspari" userId="978425e37181ab08" providerId="LiveId" clId="{F21CD7F8-EF44-44E7-9DA0-2936CBC89467}" dt="2022-06-06T20:07:27.088" v="25"/>
          <ac:spMkLst>
            <pc:docMk/>
            <pc:sldMk cId="1713388557" sldId="1718"/>
            <ac:spMk id="69" creationId="{FED5EAE5-B53D-CE12-5EA4-DB71C9ABF255}"/>
          </ac:spMkLst>
        </pc:spChg>
        <pc:spChg chg="add del">
          <ac:chgData name="Nicolás Gaspari" userId="978425e37181ab08" providerId="LiveId" clId="{F21CD7F8-EF44-44E7-9DA0-2936CBC89467}" dt="2022-06-06T20:08:51.626" v="30" actId="22"/>
          <ac:spMkLst>
            <pc:docMk/>
            <pc:sldMk cId="1713388557" sldId="1718"/>
            <ac:spMk id="78" creationId="{30C9472B-1236-1DC4-BFB1-2BDF003D4CD7}"/>
          </ac:spMkLst>
        </pc:spChg>
        <pc:spChg chg="add del mod">
          <ac:chgData name="Nicolás Gaspari" userId="978425e37181ab08" providerId="LiveId" clId="{F21CD7F8-EF44-44E7-9DA0-2936CBC89467}" dt="2022-06-06T20:11:01.473" v="38"/>
          <ac:spMkLst>
            <pc:docMk/>
            <pc:sldMk cId="1713388557" sldId="1718"/>
            <ac:spMk id="79" creationId="{2BFDA83E-10CA-E3B7-5EB9-3A2238830963}"/>
          </ac:spMkLst>
        </pc:spChg>
        <pc:spChg chg="add del mod">
          <ac:chgData name="Nicolás Gaspari" userId="978425e37181ab08" providerId="LiveId" clId="{F21CD7F8-EF44-44E7-9DA0-2936CBC89467}" dt="2022-06-06T20:11:31.085" v="65" actId="478"/>
          <ac:spMkLst>
            <pc:docMk/>
            <pc:sldMk cId="1713388557" sldId="1718"/>
            <ac:spMk id="80" creationId="{F6C466A6-4EF5-F0E2-F463-509D1181818E}"/>
          </ac:spMkLst>
        </pc:spChg>
        <pc:spChg chg="mod">
          <ac:chgData name="Nicolás Gaspari" userId="978425e37181ab08" providerId="LiveId" clId="{F21CD7F8-EF44-44E7-9DA0-2936CBC89467}" dt="2022-06-06T20:14:42.584" v="159" actId="1036"/>
          <ac:spMkLst>
            <pc:docMk/>
            <pc:sldMk cId="1713388557" sldId="1718"/>
            <ac:spMk id="81" creationId="{13D7ACDB-DFE1-23FF-31CB-6EE762C0C002}"/>
          </ac:spMkLst>
        </pc:spChg>
        <pc:spChg chg="add del mod">
          <ac:chgData name="Nicolás Gaspari" userId="978425e37181ab08" providerId="LiveId" clId="{F21CD7F8-EF44-44E7-9DA0-2936CBC89467}" dt="2022-06-06T20:11:09.889" v="44"/>
          <ac:spMkLst>
            <pc:docMk/>
            <pc:sldMk cId="1713388557" sldId="1718"/>
            <ac:spMk id="84" creationId="{B34D0C69-CD7E-C288-A00E-D8C572AAB9B7}"/>
          </ac:spMkLst>
        </pc:spChg>
        <pc:spChg chg="add mod">
          <ac:chgData name="Nicolás Gaspari" userId="978425e37181ab08" providerId="LiveId" clId="{F21CD7F8-EF44-44E7-9DA0-2936CBC89467}" dt="2022-06-06T20:12:16.262" v="75" actId="208"/>
          <ac:spMkLst>
            <pc:docMk/>
            <pc:sldMk cId="1713388557" sldId="1718"/>
            <ac:spMk id="86" creationId="{62898A72-2DB5-36B4-F7A6-2396538C5080}"/>
          </ac:spMkLst>
        </pc:spChg>
        <pc:spChg chg="add mod">
          <ac:chgData name="Nicolás Gaspari" userId="978425e37181ab08" providerId="LiveId" clId="{F21CD7F8-EF44-44E7-9DA0-2936CBC89467}" dt="2022-06-06T20:12:16.262" v="75" actId="208"/>
          <ac:spMkLst>
            <pc:docMk/>
            <pc:sldMk cId="1713388557" sldId="1718"/>
            <ac:spMk id="88" creationId="{C280412F-79C9-A54C-356F-5BE30D76BD7D}"/>
          </ac:spMkLst>
        </pc:spChg>
        <pc:spChg chg="add mod">
          <ac:chgData name="Nicolás Gaspari" userId="978425e37181ab08" providerId="LiveId" clId="{F21CD7F8-EF44-44E7-9DA0-2936CBC89467}" dt="2022-06-06T20:12:03.600" v="73" actId="1076"/>
          <ac:spMkLst>
            <pc:docMk/>
            <pc:sldMk cId="1713388557" sldId="1718"/>
            <ac:spMk id="89" creationId="{EAF67BF9-872E-2822-FE4A-E0C4719E7866}"/>
          </ac:spMkLst>
        </pc:spChg>
        <pc:spChg chg="mod">
          <ac:chgData name="Nicolás Gaspari" userId="978425e37181ab08" providerId="LiveId" clId="{F21CD7F8-EF44-44E7-9DA0-2936CBC89467}" dt="2022-06-06T20:14:39.670" v="153" actId="1036"/>
          <ac:spMkLst>
            <pc:docMk/>
            <pc:sldMk cId="1713388557" sldId="1718"/>
            <ac:spMk id="96" creationId="{76B96BF8-6AD3-9DFD-1CCB-811A4A75FCB0}"/>
          </ac:spMkLst>
        </pc:spChg>
        <pc:spChg chg="mod">
          <ac:chgData name="Nicolás Gaspari" userId="978425e37181ab08" providerId="LiveId" clId="{F21CD7F8-EF44-44E7-9DA0-2936CBC89467}" dt="2022-06-06T20:13:27.974" v="95" actId="1036"/>
          <ac:spMkLst>
            <pc:docMk/>
            <pc:sldMk cId="1713388557" sldId="1718"/>
            <ac:spMk id="113" creationId="{98DA0BC6-D4D8-A718-BC4E-0433A830B150}"/>
          </ac:spMkLst>
        </pc:spChg>
        <pc:spChg chg="mod">
          <ac:chgData name="Nicolás Gaspari" userId="978425e37181ab08" providerId="LiveId" clId="{F21CD7F8-EF44-44E7-9DA0-2936CBC89467}" dt="2022-06-06T20:10:56.186" v="36" actId="207"/>
          <ac:spMkLst>
            <pc:docMk/>
            <pc:sldMk cId="1713388557" sldId="1718"/>
            <ac:spMk id="119" creationId="{1CF5008F-FA32-E240-CC2D-21F8E5447F58}"/>
          </ac:spMkLst>
        </pc:spChg>
        <pc:spChg chg="mod">
          <ac:chgData name="Nicolás Gaspari" userId="978425e37181ab08" providerId="LiveId" clId="{F21CD7F8-EF44-44E7-9DA0-2936CBC89467}" dt="2022-06-06T20:14:32.786" v="139" actId="20577"/>
          <ac:spMkLst>
            <pc:docMk/>
            <pc:sldMk cId="1713388557" sldId="1718"/>
            <ac:spMk id="138" creationId="{B07E56A8-924E-373C-0465-B44B0799A881}"/>
          </ac:spMkLst>
        </pc:spChg>
        <pc:spChg chg="mod">
          <ac:chgData name="Nicolás Gaspari" userId="978425e37181ab08" providerId="LiveId" clId="{F21CD7F8-EF44-44E7-9DA0-2936CBC89467}" dt="2022-06-06T20:13:52.833" v="116" actId="20577"/>
          <ac:spMkLst>
            <pc:docMk/>
            <pc:sldMk cId="1713388557" sldId="1718"/>
            <ac:spMk id="140" creationId="{16C462CC-7CAD-BDC8-E865-6C823EC782AC}"/>
          </ac:spMkLst>
        </pc:spChg>
        <pc:spChg chg="mod">
          <ac:chgData name="Nicolás Gaspari" userId="978425e37181ab08" providerId="LiveId" clId="{F21CD7F8-EF44-44E7-9DA0-2936CBC89467}" dt="2022-06-06T20:13:33.243" v="96" actId="1076"/>
          <ac:spMkLst>
            <pc:docMk/>
            <pc:sldMk cId="1713388557" sldId="1718"/>
            <ac:spMk id="142" creationId="{EA1E8E28-B7D2-06FB-EC63-8775AC22A010}"/>
          </ac:spMkLst>
        </pc:spChg>
        <pc:cxnChg chg="mod">
          <ac:chgData name="Nicolás Gaspari" userId="978425e37181ab08" providerId="LiveId" clId="{F21CD7F8-EF44-44E7-9DA0-2936CBC89467}" dt="2022-06-06T20:14:42.584" v="159" actId="1036"/>
          <ac:cxnSpMkLst>
            <pc:docMk/>
            <pc:sldMk cId="1713388557" sldId="1718"/>
            <ac:cxnSpMk id="82" creationId="{92C16A71-D4BB-DD26-AD85-39220B1E00BA}"/>
          </ac:cxnSpMkLst>
        </pc:cxnChg>
        <pc:cxnChg chg="add mod">
          <ac:chgData name="Nicolás Gaspari" userId="978425e37181ab08" providerId="LiveId" clId="{F21CD7F8-EF44-44E7-9DA0-2936CBC89467}" dt="2022-06-06T20:12:16.262" v="75" actId="208"/>
          <ac:cxnSpMkLst>
            <pc:docMk/>
            <pc:sldMk cId="1713388557" sldId="1718"/>
            <ac:cxnSpMk id="87" creationId="{0A0B86F1-2C37-D7B0-95DA-2515F56A9639}"/>
          </ac:cxnSpMkLst>
        </pc:cxnChg>
        <pc:cxnChg chg="mod">
          <ac:chgData name="Nicolás Gaspari" userId="978425e37181ab08" providerId="LiveId" clId="{F21CD7F8-EF44-44E7-9DA0-2936CBC89467}" dt="2022-06-06T20:14:42.584" v="159" actId="1036"/>
          <ac:cxnSpMkLst>
            <pc:docMk/>
            <pc:sldMk cId="1713388557" sldId="1718"/>
            <ac:cxnSpMk id="98" creationId="{514E0823-72F1-2926-4112-E3B7552FC7D9}"/>
          </ac:cxnSpMkLst>
        </pc:cxnChg>
      </pc:sldChg>
    </pc:docChg>
  </pc:docChgLst>
  <pc:docChgLst>
    <pc:chgData name="María Laura Gómez" userId="76f3d4b294322060" providerId="LiveId" clId="{4C2F83CA-88B6-43C9-A7C0-1CB1F55BD1A0}"/>
    <pc:docChg chg="custSel addSld modSld sldOrd">
      <pc:chgData name="María Laura Gómez" userId="76f3d4b294322060" providerId="LiveId" clId="{4C2F83CA-88B6-43C9-A7C0-1CB1F55BD1A0}" dt="2022-05-31T02:16:31.355" v="190" actId="14100"/>
      <pc:docMkLst>
        <pc:docMk/>
      </pc:docMkLst>
      <pc:sldChg chg="modSp mod">
        <pc:chgData name="María Laura Gómez" userId="76f3d4b294322060" providerId="LiveId" clId="{4C2F83CA-88B6-43C9-A7C0-1CB1F55BD1A0}" dt="2022-05-31T02:16:31.355" v="190" actId="14100"/>
        <pc:sldMkLst>
          <pc:docMk/>
          <pc:sldMk cId="77090584" sldId="259"/>
        </pc:sldMkLst>
        <pc:spChg chg="mod">
          <ac:chgData name="María Laura Gómez" userId="76f3d4b294322060" providerId="LiveId" clId="{4C2F83CA-88B6-43C9-A7C0-1CB1F55BD1A0}" dt="2022-05-30T15:28:24.517" v="28" actId="1076"/>
          <ac:spMkLst>
            <pc:docMk/>
            <pc:sldMk cId="77090584" sldId="259"/>
            <ac:spMk id="9" creationId="{114850F9-C554-5B46-AA1C-A56DC9790707}"/>
          </ac:spMkLst>
        </pc:spChg>
        <pc:spChg chg="mod">
          <ac:chgData name="María Laura Gómez" userId="76f3d4b294322060" providerId="LiveId" clId="{4C2F83CA-88B6-43C9-A7C0-1CB1F55BD1A0}" dt="2022-05-31T02:16:31.355" v="190" actId="14100"/>
          <ac:spMkLst>
            <pc:docMk/>
            <pc:sldMk cId="77090584" sldId="259"/>
            <ac:spMk id="58" creationId="{00000000-0000-0000-0000-000000000000}"/>
          </ac:spMkLst>
        </pc:spChg>
      </pc:sldChg>
      <pc:sldChg chg="addSp delSp modSp new mod ord">
        <pc:chgData name="María Laura Gómez" userId="76f3d4b294322060" providerId="LiveId" clId="{4C2F83CA-88B6-43C9-A7C0-1CB1F55BD1A0}" dt="2022-05-30T15:31:23.701" v="175" actId="14100"/>
        <pc:sldMkLst>
          <pc:docMk/>
          <pc:sldMk cId="1103908740" sldId="261"/>
        </pc:sldMkLst>
        <pc:spChg chg="del">
          <ac:chgData name="María Laura Gómez" userId="76f3d4b294322060" providerId="LiveId" clId="{4C2F83CA-88B6-43C9-A7C0-1CB1F55BD1A0}" dt="2022-05-30T15:27:02.857" v="3" actId="478"/>
          <ac:spMkLst>
            <pc:docMk/>
            <pc:sldMk cId="1103908740" sldId="261"/>
            <ac:spMk id="2" creationId="{F68F748A-03DB-F01E-A19C-86D8A5D45073}"/>
          </ac:spMkLst>
        </pc:spChg>
        <pc:spChg chg="del">
          <ac:chgData name="María Laura Gómez" userId="76f3d4b294322060" providerId="LiveId" clId="{4C2F83CA-88B6-43C9-A7C0-1CB1F55BD1A0}" dt="2022-05-30T15:27:02.857" v="3" actId="478"/>
          <ac:spMkLst>
            <pc:docMk/>
            <pc:sldMk cId="1103908740" sldId="261"/>
            <ac:spMk id="3" creationId="{EEBF121B-70C7-8D66-8CAA-E800B04C1EC5}"/>
          </ac:spMkLst>
        </pc:spChg>
        <pc:spChg chg="add mod">
          <ac:chgData name="María Laura Gómez" userId="76f3d4b294322060" providerId="LiveId" clId="{4C2F83CA-88B6-43C9-A7C0-1CB1F55BD1A0}" dt="2022-05-30T15:31:21.573" v="174" actId="14100"/>
          <ac:spMkLst>
            <pc:docMk/>
            <pc:sldMk cId="1103908740" sldId="261"/>
            <ac:spMk id="4" creationId="{86ED195D-BC20-EC96-B08E-BEFE824CDDF0}"/>
          </ac:spMkLst>
        </pc:spChg>
        <pc:spChg chg="add mod">
          <ac:chgData name="María Laura Gómez" userId="76f3d4b294322060" providerId="LiveId" clId="{4C2F83CA-88B6-43C9-A7C0-1CB1F55BD1A0}" dt="2022-05-30T15:31:17.435" v="173" actId="1035"/>
          <ac:spMkLst>
            <pc:docMk/>
            <pc:sldMk cId="1103908740" sldId="261"/>
            <ac:spMk id="5" creationId="{394B5493-F075-5986-BDA6-F2F471CE40DE}"/>
          </ac:spMkLst>
        </pc:spChg>
        <pc:spChg chg="add mod">
          <ac:chgData name="María Laura Gómez" userId="76f3d4b294322060" providerId="LiveId" clId="{4C2F83CA-88B6-43C9-A7C0-1CB1F55BD1A0}" dt="2022-05-30T15:31:23.701" v="175" actId="14100"/>
          <ac:spMkLst>
            <pc:docMk/>
            <pc:sldMk cId="1103908740" sldId="261"/>
            <ac:spMk id="6" creationId="{8327C908-25EA-F546-3D73-474E4049AE28}"/>
          </ac:spMkLst>
        </pc:spChg>
        <pc:spChg chg="add mod">
          <ac:chgData name="María Laura Gómez" userId="76f3d4b294322060" providerId="LiveId" clId="{4C2F83CA-88B6-43C9-A7C0-1CB1F55BD1A0}" dt="2022-05-30T15:31:17.435" v="173" actId="1035"/>
          <ac:spMkLst>
            <pc:docMk/>
            <pc:sldMk cId="1103908740" sldId="261"/>
            <ac:spMk id="7" creationId="{748AD953-181E-9264-9F60-3FD83F434074}"/>
          </ac:spMkLst>
        </pc:spChg>
        <pc:spChg chg="add mod">
          <ac:chgData name="María Laura Gómez" userId="76f3d4b294322060" providerId="LiveId" clId="{4C2F83CA-88B6-43C9-A7C0-1CB1F55BD1A0}" dt="2022-05-30T15:30:21.941" v="133" actId="14100"/>
          <ac:spMkLst>
            <pc:docMk/>
            <pc:sldMk cId="1103908740" sldId="261"/>
            <ac:spMk id="8" creationId="{06AC2B3F-AE4D-3F83-B721-E5B007192867}"/>
          </ac:spMkLst>
        </pc:spChg>
        <pc:spChg chg="add mod">
          <ac:chgData name="María Laura Gómez" userId="76f3d4b294322060" providerId="LiveId" clId="{4C2F83CA-88B6-43C9-A7C0-1CB1F55BD1A0}" dt="2022-05-30T15:29:07.955" v="72" actId="1035"/>
          <ac:spMkLst>
            <pc:docMk/>
            <pc:sldMk cId="1103908740" sldId="261"/>
            <ac:spMk id="9" creationId="{3476B01A-3692-978F-8AC0-2A016566CC56}"/>
          </ac:spMkLst>
        </pc:spChg>
        <pc:spChg chg="add mod">
          <ac:chgData name="María Laura Gómez" userId="76f3d4b294322060" providerId="LiveId" clId="{4C2F83CA-88B6-43C9-A7C0-1CB1F55BD1A0}" dt="2022-05-30T15:29:07.955" v="72" actId="1035"/>
          <ac:spMkLst>
            <pc:docMk/>
            <pc:sldMk cId="1103908740" sldId="261"/>
            <ac:spMk id="10" creationId="{23E7066D-9789-B84C-5A01-501F60506629}"/>
          </ac:spMkLst>
        </pc:spChg>
        <pc:spChg chg="add mod">
          <ac:chgData name="María Laura Gómez" userId="76f3d4b294322060" providerId="LiveId" clId="{4C2F83CA-88B6-43C9-A7C0-1CB1F55BD1A0}" dt="2022-05-30T15:29:07.955" v="72" actId="1035"/>
          <ac:spMkLst>
            <pc:docMk/>
            <pc:sldMk cId="1103908740" sldId="261"/>
            <ac:spMk id="11" creationId="{8638A56C-4E4E-BD54-FA33-AECF7DA979C5}"/>
          </ac:spMkLst>
        </pc:spChg>
        <pc:spChg chg="add mod">
          <ac:chgData name="María Laura Gómez" userId="76f3d4b294322060" providerId="LiveId" clId="{4C2F83CA-88B6-43C9-A7C0-1CB1F55BD1A0}" dt="2022-05-30T15:28:17.014" v="27" actId="1036"/>
          <ac:spMkLst>
            <pc:docMk/>
            <pc:sldMk cId="1103908740" sldId="261"/>
            <ac:spMk id="12" creationId="{5369D823-2E5A-A732-2647-DEEEDEB32192}"/>
          </ac:spMkLst>
        </pc:spChg>
        <pc:spChg chg="add mod">
          <ac:chgData name="María Laura Gómez" userId="76f3d4b294322060" providerId="LiveId" clId="{4C2F83CA-88B6-43C9-A7C0-1CB1F55BD1A0}" dt="2022-05-30T15:28:17.014" v="27" actId="1036"/>
          <ac:spMkLst>
            <pc:docMk/>
            <pc:sldMk cId="1103908740" sldId="261"/>
            <ac:spMk id="13" creationId="{96F61EA9-C8C1-D4AD-E77D-8098307241E7}"/>
          </ac:spMkLst>
        </pc:spChg>
        <pc:spChg chg="add mod">
          <ac:chgData name="María Laura Gómez" userId="76f3d4b294322060" providerId="LiveId" clId="{4C2F83CA-88B6-43C9-A7C0-1CB1F55BD1A0}" dt="2022-05-30T15:28:17.014" v="27" actId="1036"/>
          <ac:spMkLst>
            <pc:docMk/>
            <pc:sldMk cId="1103908740" sldId="261"/>
            <ac:spMk id="14" creationId="{BB955A88-99A6-D06E-1EFB-1D44FF55EFA9}"/>
          </ac:spMkLst>
        </pc:spChg>
        <pc:spChg chg="add mod">
          <ac:chgData name="María Laura Gómez" userId="76f3d4b294322060" providerId="LiveId" clId="{4C2F83CA-88B6-43C9-A7C0-1CB1F55BD1A0}" dt="2022-05-30T15:28:17.014" v="27" actId="1036"/>
          <ac:spMkLst>
            <pc:docMk/>
            <pc:sldMk cId="1103908740" sldId="261"/>
            <ac:spMk id="15" creationId="{E1866C0A-437A-E1C4-D4CB-EEB19FC2A24B}"/>
          </ac:spMkLst>
        </pc:spChg>
        <pc:spChg chg="add mod">
          <ac:chgData name="María Laura Gómez" userId="76f3d4b294322060" providerId="LiveId" clId="{4C2F83CA-88B6-43C9-A7C0-1CB1F55BD1A0}" dt="2022-05-30T15:27:03.676" v="4"/>
          <ac:spMkLst>
            <pc:docMk/>
            <pc:sldMk cId="1103908740" sldId="261"/>
            <ac:spMk id="16" creationId="{83DFD427-1C99-BAFE-10B2-D6367898153C}"/>
          </ac:spMkLst>
        </pc:spChg>
        <pc:spChg chg="add mod">
          <ac:chgData name="María Laura Gómez" userId="76f3d4b294322060" providerId="LiveId" clId="{4C2F83CA-88B6-43C9-A7C0-1CB1F55BD1A0}" dt="2022-05-30T15:27:03.676" v="4"/>
          <ac:spMkLst>
            <pc:docMk/>
            <pc:sldMk cId="1103908740" sldId="261"/>
            <ac:spMk id="17" creationId="{BA560DC6-BCE5-EB12-9E56-B1DD1AC5E1FF}"/>
          </ac:spMkLst>
        </pc:spChg>
        <pc:spChg chg="add mod">
          <ac:chgData name="María Laura Gómez" userId="76f3d4b294322060" providerId="LiveId" clId="{4C2F83CA-88B6-43C9-A7C0-1CB1F55BD1A0}" dt="2022-05-30T15:27:11.059" v="5"/>
          <ac:spMkLst>
            <pc:docMk/>
            <pc:sldMk cId="1103908740" sldId="261"/>
            <ac:spMk id="18" creationId="{A8E03BA2-6C63-FFC0-2A73-C2F50D398FCC}"/>
          </ac:spMkLst>
        </pc:spChg>
        <pc:spChg chg="add mod">
          <ac:chgData name="María Laura Gómez" userId="76f3d4b294322060" providerId="LiveId" clId="{4C2F83CA-88B6-43C9-A7C0-1CB1F55BD1A0}" dt="2022-05-30T15:29:36.448" v="117" actId="1036"/>
          <ac:spMkLst>
            <pc:docMk/>
            <pc:sldMk cId="1103908740" sldId="261"/>
            <ac:spMk id="19" creationId="{8FFDA60C-103F-5F2B-39B9-ACEF97E19930}"/>
          </ac:spMkLst>
        </pc:spChg>
        <pc:spChg chg="add mod">
          <ac:chgData name="María Laura Gómez" userId="76f3d4b294322060" providerId="LiveId" clId="{4C2F83CA-88B6-43C9-A7C0-1CB1F55BD1A0}" dt="2022-05-30T15:29:28.783" v="110" actId="1036"/>
          <ac:spMkLst>
            <pc:docMk/>
            <pc:sldMk cId="1103908740" sldId="261"/>
            <ac:spMk id="20" creationId="{36DB26EE-FA82-FA03-D376-2FA3522A6B74}"/>
          </ac:spMkLst>
        </pc:spChg>
        <pc:spChg chg="add mod">
          <ac:chgData name="María Laura Gómez" userId="76f3d4b294322060" providerId="LiveId" clId="{4C2F83CA-88B6-43C9-A7C0-1CB1F55BD1A0}" dt="2022-05-30T15:29:36.448" v="117" actId="1036"/>
          <ac:spMkLst>
            <pc:docMk/>
            <pc:sldMk cId="1103908740" sldId="261"/>
            <ac:spMk id="21" creationId="{0C314F9E-5604-29F0-1894-D9CE9B4CE717}"/>
          </ac:spMkLst>
        </pc:spChg>
        <pc:spChg chg="add mod">
          <ac:chgData name="María Laura Gómez" userId="76f3d4b294322060" providerId="LiveId" clId="{4C2F83CA-88B6-43C9-A7C0-1CB1F55BD1A0}" dt="2022-05-30T15:29:36.448" v="117" actId="1036"/>
          <ac:spMkLst>
            <pc:docMk/>
            <pc:sldMk cId="1103908740" sldId="261"/>
            <ac:spMk id="22" creationId="{03133047-A3DA-65C6-2833-E3D0DD9E2EE5}"/>
          </ac:spMkLst>
        </pc:spChg>
        <pc:spChg chg="add mod">
          <ac:chgData name="María Laura Gómez" userId="76f3d4b294322060" providerId="LiveId" clId="{4C2F83CA-88B6-43C9-A7C0-1CB1F55BD1A0}" dt="2022-05-30T15:29:36.448" v="117" actId="1036"/>
          <ac:spMkLst>
            <pc:docMk/>
            <pc:sldMk cId="1103908740" sldId="261"/>
            <ac:spMk id="23" creationId="{6489967F-15CB-A5D7-A05E-A4135B700C03}"/>
          </ac:spMkLst>
        </pc:spChg>
        <pc:spChg chg="add mod">
          <ac:chgData name="María Laura Gómez" userId="76f3d4b294322060" providerId="LiveId" clId="{4C2F83CA-88B6-43C9-A7C0-1CB1F55BD1A0}" dt="2022-05-30T15:29:28.783" v="110" actId="1036"/>
          <ac:spMkLst>
            <pc:docMk/>
            <pc:sldMk cId="1103908740" sldId="261"/>
            <ac:spMk id="24" creationId="{78081389-03D9-40DC-3497-99686046B80B}"/>
          </ac:spMkLst>
        </pc:spChg>
        <pc:spChg chg="add mod">
          <ac:chgData name="María Laura Gómez" userId="76f3d4b294322060" providerId="LiveId" clId="{4C2F83CA-88B6-43C9-A7C0-1CB1F55BD1A0}" dt="2022-05-30T15:29:36.448" v="117" actId="1036"/>
          <ac:spMkLst>
            <pc:docMk/>
            <pc:sldMk cId="1103908740" sldId="261"/>
            <ac:spMk id="25" creationId="{E087AC9A-4808-9605-3C03-69923B3FD538}"/>
          </ac:spMkLst>
        </pc:spChg>
        <pc:spChg chg="add mod">
          <ac:chgData name="María Laura Gómez" userId="76f3d4b294322060" providerId="LiveId" clId="{4C2F83CA-88B6-43C9-A7C0-1CB1F55BD1A0}" dt="2022-05-30T15:27:11.059" v="5"/>
          <ac:spMkLst>
            <pc:docMk/>
            <pc:sldMk cId="1103908740" sldId="261"/>
            <ac:spMk id="26" creationId="{9D9AB66D-74D1-6579-5BB0-9F92675EEBA5}"/>
          </ac:spMkLst>
        </pc:spChg>
        <pc:spChg chg="add mod">
          <ac:chgData name="María Laura Gómez" userId="76f3d4b294322060" providerId="LiveId" clId="{4C2F83CA-88B6-43C9-A7C0-1CB1F55BD1A0}" dt="2022-05-30T15:28:17.014" v="27" actId="1036"/>
          <ac:spMkLst>
            <pc:docMk/>
            <pc:sldMk cId="1103908740" sldId="261"/>
            <ac:spMk id="27" creationId="{7BBFCB8A-117C-319D-F0EA-E62209539B0E}"/>
          </ac:spMkLst>
        </pc:spChg>
        <pc:spChg chg="add mod">
          <ac:chgData name="María Laura Gómez" userId="76f3d4b294322060" providerId="LiveId" clId="{4C2F83CA-88B6-43C9-A7C0-1CB1F55BD1A0}" dt="2022-05-30T15:29:28.783" v="110" actId="1036"/>
          <ac:spMkLst>
            <pc:docMk/>
            <pc:sldMk cId="1103908740" sldId="261"/>
            <ac:spMk id="28" creationId="{3970B340-55F3-0846-BA25-06443A504B13}"/>
          </ac:spMkLst>
        </pc:spChg>
        <pc:spChg chg="add mod">
          <ac:chgData name="María Laura Gómez" userId="76f3d4b294322060" providerId="LiveId" clId="{4C2F83CA-88B6-43C9-A7C0-1CB1F55BD1A0}" dt="2022-05-30T15:29:28.783" v="110" actId="1036"/>
          <ac:spMkLst>
            <pc:docMk/>
            <pc:sldMk cId="1103908740" sldId="261"/>
            <ac:spMk id="29" creationId="{26D32C40-2126-ED56-57F2-EA7D15DEDC3F}"/>
          </ac:spMkLst>
        </pc:spChg>
        <pc:spChg chg="add mod">
          <ac:chgData name="María Laura Gómez" userId="76f3d4b294322060" providerId="LiveId" clId="{4C2F83CA-88B6-43C9-A7C0-1CB1F55BD1A0}" dt="2022-05-30T15:29:28.783" v="110" actId="1036"/>
          <ac:spMkLst>
            <pc:docMk/>
            <pc:sldMk cId="1103908740" sldId="261"/>
            <ac:spMk id="30" creationId="{F122A416-E521-DA75-2622-898F0B9C2D27}"/>
          </ac:spMkLst>
        </pc:spChg>
        <pc:spChg chg="add mod">
          <ac:chgData name="María Laura Gómez" userId="76f3d4b294322060" providerId="LiveId" clId="{4C2F83CA-88B6-43C9-A7C0-1CB1F55BD1A0}" dt="2022-05-30T15:29:28.783" v="110" actId="1036"/>
          <ac:spMkLst>
            <pc:docMk/>
            <pc:sldMk cId="1103908740" sldId="261"/>
            <ac:spMk id="31" creationId="{EB1846A2-6353-8EF2-8C20-1B487FEBDD7F}"/>
          </ac:spMkLst>
        </pc:spChg>
        <pc:spChg chg="add mod">
          <ac:chgData name="María Laura Gómez" userId="76f3d4b294322060" providerId="LiveId" clId="{4C2F83CA-88B6-43C9-A7C0-1CB1F55BD1A0}" dt="2022-05-30T15:29:28.783" v="110" actId="1036"/>
          <ac:spMkLst>
            <pc:docMk/>
            <pc:sldMk cId="1103908740" sldId="261"/>
            <ac:spMk id="32" creationId="{A8108725-CCDE-3872-B428-E7D08772715A}"/>
          </ac:spMkLst>
        </pc:spChg>
        <pc:spChg chg="add mod">
          <ac:chgData name="María Laura Gómez" userId="76f3d4b294322060" providerId="LiveId" clId="{4C2F83CA-88B6-43C9-A7C0-1CB1F55BD1A0}" dt="2022-05-30T15:28:17.014" v="27" actId="1036"/>
          <ac:spMkLst>
            <pc:docMk/>
            <pc:sldMk cId="1103908740" sldId="261"/>
            <ac:spMk id="33" creationId="{9158A78B-ABA6-B629-1759-F21F674B2403}"/>
          </ac:spMkLst>
        </pc:spChg>
        <pc:spChg chg="add mod">
          <ac:chgData name="María Laura Gómez" userId="76f3d4b294322060" providerId="LiveId" clId="{4C2F83CA-88B6-43C9-A7C0-1CB1F55BD1A0}" dt="2022-05-30T15:28:17.014" v="27" actId="1036"/>
          <ac:spMkLst>
            <pc:docMk/>
            <pc:sldMk cId="1103908740" sldId="261"/>
            <ac:spMk id="34" creationId="{78B8B7AD-6195-6482-4951-0B3A8A174576}"/>
          </ac:spMkLst>
        </pc:spChg>
        <pc:spChg chg="add mod">
          <ac:chgData name="María Laura Gómez" userId="76f3d4b294322060" providerId="LiveId" clId="{4C2F83CA-88B6-43C9-A7C0-1CB1F55BD1A0}" dt="2022-05-30T15:28:17.014" v="27" actId="1036"/>
          <ac:spMkLst>
            <pc:docMk/>
            <pc:sldMk cId="1103908740" sldId="261"/>
            <ac:spMk id="35" creationId="{4E25D8E3-3A83-AEAA-7FC6-C91ED6FEAF33}"/>
          </ac:spMkLst>
        </pc:spChg>
        <pc:spChg chg="add mod">
          <ac:chgData name="María Laura Gómez" userId="76f3d4b294322060" providerId="LiveId" clId="{4C2F83CA-88B6-43C9-A7C0-1CB1F55BD1A0}" dt="2022-05-30T15:28:17.014" v="27" actId="1036"/>
          <ac:spMkLst>
            <pc:docMk/>
            <pc:sldMk cId="1103908740" sldId="261"/>
            <ac:spMk id="36" creationId="{F3CA4C2B-0F80-C4A3-94AC-AAA62427AEC2}"/>
          </ac:spMkLst>
        </pc:spChg>
        <pc:spChg chg="add mod">
          <ac:chgData name="María Laura Gómez" userId="76f3d4b294322060" providerId="LiveId" clId="{4C2F83CA-88B6-43C9-A7C0-1CB1F55BD1A0}" dt="2022-05-30T15:28:17.014" v="27" actId="1036"/>
          <ac:spMkLst>
            <pc:docMk/>
            <pc:sldMk cId="1103908740" sldId="261"/>
            <ac:spMk id="37" creationId="{ECC01E6A-5A06-576A-99E9-4BD30415C35B}"/>
          </ac:spMkLst>
        </pc:spChg>
        <pc:spChg chg="add mod">
          <ac:chgData name="María Laura Gómez" userId="76f3d4b294322060" providerId="LiveId" clId="{4C2F83CA-88B6-43C9-A7C0-1CB1F55BD1A0}" dt="2022-05-30T15:27:11.059" v="5"/>
          <ac:spMkLst>
            <pc:docMk/>
            <pc:sldMk cId="1103908740" sldId="261"/>
            <ac:spMk id="38" creationId="{21FAEFB5-FD49-6AD5-2904-9EA224C9BB4E}"/>
          </ac:spMkLst>
        </pc:spChg>
        <pc:spChg chg="add mod">
          <ac:chgData name="María Laura Gómez" userId="76f3d4b294322060" providerId="LiveId" clId="{4C2F83CA-88B6-43C9-A7C0-1CB1F55BD1A0}" dt="2022-05-30T15:27:11.059" v="5"/>
          <ac:spMkLst>
            <pc:docMk/>
            <pc:sldMk cId="1103908740" sldId="261"/>
            <ac:spMk id="39" creationId="{C406B19F-66ED-E363-0118-C0D8FDBCB41D}"/>
          </ac:spMkLst>
        </pc:spChg>
        <pc:spChg chg="add mod">
          <ac:chgData name="María Laura Gómez" userId="76f3d4b294322060" providerId="LiveId" clId="{4C2F83CA-88B6-43C9-A7C0-1CB1F55BD1A0}" dt="2022-05-30T15:27:11.059" v="5"/>
          <ac:spMkLst>
            <pc:docMk/>
            <pc:sldMk cId="1103908740" sldId="261"/>
            <ac:spMk id="40" creationId="{DD2C3243-CCA5-E383-44D6-147B42B8159B}"/>
          </ac:spMkLst>
        </pc:spChg>
        <pc:spChg chg="add mod">
          <ac:chgData name="María Laura Gómez" userId="76f3d4b294322060" providerId="LiveId" clId="{4C2F83CA-88B6-43C9-A7C0-1CB1F55BD1A0}" dt="2022-05-30T15:27:11.059" v="5"/>
          <ac:spMkLst>
            <pc:docMk/>
            <pc:sldMk cId="1103908740" sldId="261"/>
            <ac:spMk id="41" creationId="{35FD5D79-808E-D64F-6E9D-DC0693735758}"/>
          </ac:spMkLst>
        </pc:spChg>
        <pc:spChg chg="add mod">
          <ac:chgData name="María Laura Gómez" userId="76f3d4b294322060" providerId="LiveId" clId="{4C2F83CA-88B6-43C9-A7C0-1CB1F55BD1A0}" dt="2022-05-30T15:27:11.059" v="5"/>
          <ac:spMkLst>
            <pc:docMk/>
            <pc:sldMk cId="1103908740" sldId="261"/>
            <ac:spMk id="42" creationId="{DAEC10AA-7B2C-F76B-0CA3-FA4009AFBF21}"/>
          </ac:spMkLst>
        </pc:spChg>
        <pc:spChg chg="add mod">
          <ac:chgData name="María Laura Gómez" userId="76f3d4b294322060" providerId="LiveId" clId="{4C2F83CA-88B6-43C9-A7C0-1CB1F55BD1A0}" dt="2022-05-30T15:30:52.229" v="135" actId="1076"/>
          <ac:spMkLst>
            <pc:docMk/>
            <pc:sldMk cId="1103908740" sldId="261"/>
            <ac:spMk id="43" creationId="{571F0B5E-871D-6E97-9719-593E6A19FEAE}"/>
          </ac:spMkLst>
        </pc:spChg>
        <pc:spChg chg="add mod">
          <ac:chgData name="María Laura Gómez" userId="76f3d4b294322060" providerId="LiveId" clId="{4C2F83CA-88B6-43C9-A7C0-1CB1F55BD1A0}" dt="2022-05-30T15:31:03.096" v="160" actId="1035"/>
          <ac:spMkLst>
            <pc:docMk/>
            <pc:sldMk cId="1103908740" sldId="261"/>
            <ac:spMk id="44" creationId="{A683D6FD-2BD7-D56B-7505-B632B6E68C1C}"/>
          </ac:spMkLst>
        </pc:spChg>
        <pc:spChg chg="add del mod">
          <ac:chgData name="María Laura Gómez" userId="76f3d4b294322060" providerId="LiveId" clId="{4C2F83CA-88B6-43C9-A7C0-1CB1F55BD1A0}" dt="2022-05-30T15:27:29.129" v="8" actId="478"/>
          <ac:spMkLst>
            <pc:docMk/>
            <pc:sldMk cId="1103908740" sldId="261"/>
            <ac:spMk id="45" creationId="{F9476F2D-2FD3-D067-2023-6458CCCE405A}"/>
          </ac:spMkLst>
        </pc:spChg>
        <pc:spChg chg="add mod">
          <ac:chgData name="María Laura Gómez" userId="76f3d4b294322060" providerId="LiveId" clId="{4C2F83CA-88B6-43C9-A7C0-1CB1F55BD1A0}" dt="2022-05-30T15:31:03.096" v="160" actId="1035"/>
          <ac:spMkLst>
            <pc:docMk/>
            <pc:sldMk cId="1103908740" sldId="261"/>
            <ac:spMk id="46" creationId="{2DDF8B10-BB9F-631F-2D18-05B6FC16160D}"/>
          </ac:spMkLst>
        </pc:spChg>
        <pc:spChg chg="add del mod">
          <ac:chgData name="María Laura Gómez" userId="76f3d4b294322060" providerId="LiveId" clId="{4C2F83CA-88B6-43C9-A7C0-1CB1F55BD1A0}" dt="2022-05-30T15:27:46.253" v="10" actId="478"/>
          <ac:spMkLst>
            <pc:docMk/>
            <pc:sldMk cId="1103908740" sldId="261"/>
            <ac:spMk id="47" creationId="{2E8D18DB-1F52-87D7-6498-E7E2A3C1CE43}"/>
          </ac:spMkLst>
        </pc:spChg>
        <pc:spChg chg="add del mod">
          <ac:chgData name="María Laura Gómez" userId="76f3d4b294322060" providerId="LiveId" clId="{4C2F83CA-88B6-43C9-A7C0-1CB1F55BD1A0}" dt="2022-05-30T15:27:46.253" v="10" actId="478"/>
          <ac:spMkLst>
            <pc:docMk/>
            <pc:sldMk cId="1103908740" sldId="261"/>
            <ac:spMk id="48" creationId="{4332CE10-D20A-94C4-F4A6-C5667AA4239B}"/>
          </ac:spMkLst>
        </pc:spChg>
        <pc:spChg chg="add del mod">
          <ac:chgData name="María Laura Gómez" userId="76f3d4b294322060" providerId="LiveId" clId="{4C2F83CA-88B6-43C9-A7C0-1CB1F55BD1A0}" dt="2022-05-30T15:27:46.253" v="10" actId="478"/>
          <ac:spMkLst>
            <pc:docMk/>
            <pc:sldMk cId="1103908740" sldId="261"/>
            <ac:spMk id="49" creationId="{FC86AC0F-9C2F-026C-12CC-5B831009CEBE}"/>
          </ac:spMkLst>
        </pc:spChg>
        <pc:spChg chg="add mod">
          <ac:chgData name="María Laura Gómez" userId="76f3d4b294322060" providerId="LiveId" clId="{4C2F83CA-88B6-43C9-A7C0-1CB1F55BD1A0}" dt="2022-05-30T15:28:27.155" v="29"/>
          <ac:spMkLst>
            <pc:docMk/>
            <pc:sldMk cId="1103908740" sldId="261"/>
            <ac:spMk id="53" creationId="{67E1C1E7-1CAB-BB07-6352-99589A9AA76E}"/>
          </ac:spMkLst>
        </pc:spChg>
        <pc:cxnChg chg="add mod">
          <ac:chgData name="María Laura Gómez" userId="76f3d4b294322060" providerId="LiveId" clId="{4C2F83CA-88B6-43C9-A7C0-1CB1F55BD1A0}" dt="2022-05-30T15:29:11.229" v="73" actId="1076"/>
          <ac:cxnSpMkLst>
            <pc:docMk/>
            <pc:sldMk cId="1103908740" sldId="261"/>
            <ac:cxnSpMk id="50" creationId="{A1816332-4341-12AB-4711-DE3046DB0E05}"/>
          </ac:cxnSpMkLst>
        </pc:cxnChg>
        <pc:cxnChg chg="add mod">
          <ac:chgData name="María Laura Gómez" userId="76f3d4b294322060" providerId="LiveId" clId="{4C2F83CA-88B6-43C9-A7C0-1CB1F55BD1A0}" dt="2022-05-30T15:27:53.816" v="11"/>
          <ac:cxnSpMkLst>
            <pc:docMk/>
            <pc:sldMk cId="1103908740" sldId="261"/>
            <ac:cxnSpMk id="51" creationId="{298F4B13-0363-2D59-814E-0B56B00565D3}"/>
          </ac:cxnSpMkLst>
        </pc:cxnChg>
        <pc:cxnChg chg="add mod">
          <ac:chgData name="María Laura Gómez" userId="76f3d4b294322060" providerId="LiveId" clId="{4C2F83CA-88B6-43C9-A7C0-1CB1F55BD1A0}" dt="2022-05-30T15:28:17.014" v="27" actId="1036"/>
          <ac:cxnSpMkLst>
            <pc:docMk/>
            <pc:sldMk cId="1103908740" sldId="261"/>
            <ac:cxnSpMk id="52" creationId="{DFD82AA0-CFF3-F009-3D9F-C61B486C3C9E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1D5320-7487-3749-9783-21EAB42FA4D8}" type="datetimeFigureOut">
              <a:rPr lang="es-ES_tradnl" smtClean="0"/>
              <a:t>29/06/2022</a:t>
            </a:fld>
            <a:endParaRPr lang="es-ES_tradnl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es-ES"/>
              <a:t>Editar los estilos de texto del patrón
Segundo nivel
Tercer nivel
Cuarto nivel
Quinto nivel</a:t>
            </a:r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72E85E-8569-B341-A8B2-439499DAB4A7}" type="slidenum">
              <a:rPr lang="es-ES_tradnl" smtClean="0"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1852377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9479D9-B7F2-4E58-96BE-7C19628E862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0109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9479D9-B7F2-4E58-96BE-7C19628E862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875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AR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3C35B3-55DA-124E-B11D-BE6ABBEDBA4B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7817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sosceles Triangle 7">
            <a:extLst>
              <a:ext uri="{FF2B5EF4-FFF2-40B4-BE49-F238E27FC236}">
                <a16:creationId xmlns:a16="http://schemas.microsoft.com/office/drawing/2014/main" id="{5FB04C5E-9076-9147-AB75-9B9635D0FD8B}"/>
              </a:ext>
            </a:extLst>
          </p:cNvPr>
          <p:cNvSpPr/>
          <p:nvPr/>
        </p:nvSpPr>
        <p:spPr>
          <a:xfrm>
            <a:off x="7105856" y="3620190"/>
            <a:ext cx="4387781" cy="3237810"/>
          </a:xfrm>
          <a:prstGeom prst="triangl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245F8D27-5C27-3242-BE21-A884773E19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8351" y="2464351"/>
            <a:ext cx="6637505" cy="973173"/>
          </a:xfrm>
        </p:spPr>
        <p:txBody>
          <a:bodyPr>
            <a:normAutofit/>
          </a:bodyPr>
          <a:lstStyle>
            <a:lvl1pPr marL="0" indent="0" algn="l">
              <a:buNone/>
              <a:defRPr sz="1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S_tradnl"/>
          </a:p>
        </p:txBody>
      </p:sp>
      <p:sp>
        <p:nvSpPr>
          <p:cNvPr id="15" name="Isosceles Triangle 12">
            <a:extLst>
              <a:ext uri="{FF2B5EF4-FFF2-40B4-BE49-F238E27FC236}">
                <a16:creationId xmlns:a16="http://schemas.microsoft.com/office/drawing/2014/main" id="{3CF52184-E3CC-AB45-B709-77C98B61172E}"/>
              </a:ext>
            </a:extLst>
          </p:cNvPr>
          <p:cNvSpPr/>
          <p:nvPr/>
        </p:nvSpPr>
        <p:spPr>
          <a:xfrm>
            <a:off x="-3475081" y="2528718"/>
            <a:ext cx="5866910" cy="4329282"/>
          </a:xfrm>
          <a:prstGeom prst="triangl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16" name="Isosceles Triangle 18">
            <a:extLst>
              <a:ext uri="{FF2B5EF4-FFF2-40B4-BE49-F238E27FC236}">
                <a16:creationId xmlns:a16="http://schemas.microsoft.com/office/drawing/2014/main" id="{8857C8E8-1482-3F4F-9DA0-0858A0A05208}"/>
              </a:ext>
            </a:extLst>
          </p:cNvPr>
          <p:cNvSpPr/>
          <p:nvPr/>
        </p:nvSpPr>
        <p:spPr>
          <a:xfrm rot="10800000">
            <a:off x="6835717" y="-4405"/>
            <a:ext cx="6217025" cy="4587637"/>
          </a:xfrm>
          <a:prstGeom prst="triangle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17" name="Freeform: Shape 23">
            <a:extLst>
              <a:ext uri="{FF2B5EF4-FFF2-40B4-BE49-F238E27FC236}">
                <a16:creationId xmlns:a16="http://schemas.microsoft.com/office/drawing/2014/main" id="{0F0D2142-60CE-3947-B4E5-244029DBD2B4}"/>
              </a:ext>
            </a:extLst>
          </p:cNvPr>
          <p:cNvSpPr/>
          <p:nvPr/>
        </p:nvSpPr>
        <p:spPr>
          <a:xfrm rot="10800000">
            <a:off x="6096000" y="0"/>
            <a:ext cx="9429195" cy="10520696"/>
          </a:xfrm>
          <a:custGeom>
            <a:avLst/>
            <a:gdLst>
              <a:gd name="connsiteX0" fmla="*/ 897 w 9429195"/>
              <a:gd name="connsiteY0" fmla="*/ 6896100 h 10520696"/>
              <a:gd name="connsiteX1" fmla="*/ 0 w 9429195"/>
              <a:gd name="connsiteY1" fmla="*/ 6896100 h 10520696"/>
              <a:gd name="connsiteX2" fmla="*/ 2452986 w 9429195"/>
              <a:gd name="connsiteY2" fmla="*/ 3275910 h 10520696"/>
              <a:gd name="connsiteX3" fmla="*/ 2453883 w 9429195"/>
              <a:gd name="connsiteY3" fmla="*/ 3275910 h 10520696"/>
              <a:gd name="connsiteX4" fmla="*/ 2465031 w 9429195"/>
              <a:gd name="connsiteY4" fmla="*/ 10520696 h 10520696"/>
              <a:gd name="connsiteX5" fmla="*/ 2464134 w 9429195"/>
              <a:gd name="connsiteY5" fmla="*/ 10520696 h 10520696"/>
              <a:gd name="connsiteX6" fmla="*/ 4917120 w 9429195"/>
              <a:gd name="connsiteY6" fmla="*/ 6900506 h 10520696"/>
              <a:gd name="connsiteX7" fmla="*/ 4918017 w 9429195"/>
              <a:gd name="connsiteY7" fmla="*/ 6900506 h 10520696"/>
              <a:gd name="connsiteX8" fmla="*/ 9429195 w 9429195"/>
              <a:gd name="connsiteY8" fmla="*/ 10520696 h 10520696"/>
              <a:gd name="connsiteX9" fmla="*/ 8682056 w 9429195"/>
              <a:gd name="connsiteY9" fmla="*/ 10520696 h 10520696"/>
              <a:gd name="connsiteX10" fmla="*/ 6226085 w 9429195"/>
              <a:gd name="connsiteY10" fmla="*/ 6896100 h 10520696"/>
              <a:gd name="connsiteX11" fmla="*/ 6217922 w 9429195"/>
              <a:gd name="connsiteY11" fmla="*/ 6896100 h 10520696"/>
              <a:gd name="connsiteX12" fmla="*/ 3109410 w 9429195"/>
              <a:gd name="connsiteY12" fmla="*/ 2308463 h 10520696"/>
              <a:gd name="connsiteX13" fmla="*/ 3108185 w 9429195"/>
              <a:gd name="connsiteY13" fmla="*/ 2310271 h 10520696"/>
              <a:gd name="connsiteX14" fmla="*/ 1542781 w 9429195"/>
              <a:gd name="connsiteY14" fmla="*/ 0 h 10520696"/>
              <a:gd name="connsiteX15" fmla="*/ 2281046 w 9429195"/>
              <a:gd name="connsiteY15" fmla="*/ 0 h 10520696"/>
              <a:gd name="connsiteX16" fmla="*/ 3476869 w 9429195"/>
              <a:gd name="connsiteY16" fmla="*/ 1764832 h 10520696"/>
              <a:gd name="connsiteX17" fmla="*/ 3482531 w 9429195"/>
              <a:gd name="connsiteY17" fmla="*/ 1756476 h 10520696"/>
              <a:gd name="connsiteX18" fmla="*/ 5942583 w 9429195"/>
              <a:gd name="connsiteY18" fmla="*/ 5387096 h 10520696"/>
              <a:gd name="connsiteX19" fmla="*/ 5946665 w 9429195"/>
              <a:gd name="connsiteY19" fmla="*/ 5381072 h 10520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429195" h="10520696">
                <a:moveTo>
                  <a:pt x="897" y="6896100"/>
                </a:moveTo>
                <a:lnTo>
                  <a:pt x="0" y="6896100"/>
                </a:lnTo>
                <a:lnTo>
                  <a:pt x="2452986" y="3275910"/>
                </a:lnTo>
                <a:lnTo>
                  <a:pt x="2453883" y="3275910"/>
                </a:lnTo>
                <a:close/>
                <a:moveTo>
                  <a:pt x="2465031" y="10520696"/>
                </a:moveTo>
                <a:lnTo>
                  <a:pt x="2464134" y="10520696"/>
                </a:lnTo>
                <a:lnTo>
                  <a:pt x="4917120" y="6900506"/>
                </a:lnTo>
                <a:lnTo>
                  <a:pt x="4918017" y="6900506"/>
                </a:lnTo>
                <a:close/>
                <a:moveTo>
                  <a:pt x="9429195" y="10520696"/>
                </a:moveTo>
                <a:lnTo>
                  <a:pt x="8682056" y="10520696"/>
                </a:lnTo>
                <a:lnTo>
                  <a:pt x="6226085" y="6896100"/>
                </a:lnTo>
                <a:lnTo>
                  <a:pt x="6217922" y="6896100"/>
                </a:lnTo>
                <a:lnTo>
                  <a:pt x="3109410" y="2308463"/>
                </a:lnTo>
                <a:lnTo>
                  <a:pt x="3108185" y="2310271"/>
                </a:lnTo>
                <a:lnTo>
                  <a:pt x="1542781" y="0"/>
                </a:lnTo>
                <a:lnTo>
                  <a:pt x="2281046" y="0"/>
                </a:lnTo>
                <a:lnTo>
                  <a:pt x="3476869" y="1764832"/>
                </a:lnTo>
                <a:lnTo>
                  <a:pt x="3482531" y="1756476"/>
                </a:lnTo>
                <a:lnTo>
                  <a:pt x="5942583" y="5387096"/>
                </a:lnTo>
                <a:lnTo>
                  <a:pt x="5946665" y="5381072"/>
                </a:lnTo>
                <a:close/>
              </a:path>
            </a:pathLst>
          </a:custGeom>
          <a:solidFill>
            <a:schemeClr val="tx1">
              <a:lumMod val="95000"/>
              <a:lumOff val="5000"/>
              <a:alpha val="5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21" name="Título 1">
            <a:extLst>
              <a:ext uri="{FF2B5EF4-FFF2-40B4-BE49-F238E27FC236}">
                <a16:creationId xmlns:a16="http://schemas.microsoft.com/office/drawing/2014/main" id="{11EB2865-5169-DE49-8F0B-6D821D7782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8351" y="1480292"/>
            <a:ext cx="6637505" cy="973173"/>
          </a:xfrm>
        </p:spPr>
        <p:txBody>
          <a:bodyPr anchor="b">
            <a:noAutofit/>
          </a:bodyPr>
          <a:lstStyle>
            <a:lvl1pPr algn="l">
              <a:defRPr sz="2600" b="1">
                <a:latin typeface="+mn-lt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_tradnl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1311FB8-377D-7C4E-855C-70513D844A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2846" y="4313233"/>
            <a:ext cx="1440650" cy="5400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1" name="Isosceles Triangle 12">
            <a:extLst>
              <a:ext uri="{FF2B5EF4-FFF2-40B4-BE49-F238E27FC236}">
                <a16:creationId xmlns:a16="http://schemas.microsoft.com/office/drawing/2014/main" id="{F89CADD1-85B5-4878-8C3B-3EE791903D7C}"/>
              </a:ext>
            </a:extLst>
          </p:cNvPr>
          <p:cNvSpPr/>
          <p:nvPr userDrawn="1"/>
        </p:nvSpPr>
        <p:spPr>
          <a:xfrm>
            <a:off x="-3073637" y="2528718"/>
            <a:ext cx="5866910" cy="4329282"/>
          </a:xfrm>
          <a:prstGeom prst="triangl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8107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5" grpId="0" animBg="1"/>
      <p:bldP spid="16" grpId="0" animBg="1"/>
      <p:bldP spid="17" grpId="0" animBg="1"/>
      <p:bldP spid="11" grpId="0" animBg="1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FDBC92-05ED-5943-8D10-A98220801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7E0B0CD-350A-8B48-BCE9-DE8ACEEE91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990600"/>
            <a:ext cx="10515600" cy="5365750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D34BDF1-01C1-4041-9784-AF2F908DB76A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1113135" y="6369685"/>
            <a:ext cx="938530" cy="35179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81E89A81-BCBD-48A1-A5EB-17B320F227C1}"/>
              </a:ext>
            </a:extLst>
          </p:cNvPr>
          <p:cNvSpPr txBox="1"/>
          <p:nvPr/>
        </p:nvSpPr>
        <p:spPr>
          <a:xfrm>
            <a:off x="52251" y="6514794"/>
            <a:ext cx="509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3C41566-B088-4955-AD2F-3F2378B38EB1}" type="slidenum">
              <a:rPr lang="es-ES" sz="1400" b="1" smtClean="0">
                <a:solidFill>
                  <a:schemeClr val="tx2">
                    <a:lumMod val="50000"/>
                  </a:schemeClr>
                </a:solidFill>
              </a:rPr>
              <a:pPr/>
              <a:t>‹Nº›</a:t>
            </a:fld>
            <a:endParaRPr lang="es-AR" sz="1100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6219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EF2A372-8180-2F46-8616-789267898D6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628900" cy="59912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2CFFBE81-D101-D84A-A283-09296C85838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4"/>
            <a:ext cx="7734300" cy="5991225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29C01831-95B9-E641-ACD8-B4EEB30B5EC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1113135" y="6369685"/>
            <a:ext cx="938530" cy="35179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AB78FA4E-4EEB-4022-91CB-2621B6FC974A}"/>
              </a:ext>
            </a:extLst>
          </p:cNvPr>
          <p:cNvSpPr txBox="1"/>
          <p:nvPr/>
        </p:nvSpPr>
        <p:spPr>
          <a:xfrm>
            <a:off x="52251" y="6514794"/>
            <a:ext cx="509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3C41566-B088-4955-AD2F-3F2378B38EB1}" type="slidenum">
              <a:rPr lang="es-ES" sz="1400" b="1" smtClean="0">
                <a:solidFill>
                  <a:schemeClr val="tx2">
                    <a:lumMod val="50000"/>
                  </a:schemeClr>
                </a:solidFill>
              </a:rPr>
              <a:pPr/>
              <a:t>‹Nº›</a:t>
            </a:fld>
            <a:endParaRPr lang="es-AR" sz="1100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146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alu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5422813B-E095-4842-9384-DF0F0B9A1E80}"/>
              </a:ext>
            </a:extLst>
          </p:cNvPr>
          <p:cNvSpPr/>
          <p:nvPr/>
        </p:nvSpPr>
        <p:spPr>
          <a:xfrm>
            <a:off x="6366139" y="3620190"/>
            <a:ext cx="4387781" cy="3237810"/>
          </a:xfrm>
          <a:prstGeom prst="triangl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11" name="Freeform: Shape 23">
            <a:extLst>
              <a:ext uri="{FF2B5EF4-FFF2-40B4-BE49-F238E27FC236}">
                <a16:creationId xmlns:a16="http://schemas.microsoft.com/office/drawing/2014/main" id="{E2D388C6-1D99-0647-8301-D2ACFBABA396}"/>
              </a:ext>
            </a:extLst>
          </p:cNvPr>
          <p:cNvSpPr/>
          <p:nvPr/>
        </p:nvSpPr>
        <p:spPr>
          <a:xfrm rot="10800000">
            <a:off x="5356283" y="0"/>
            <a:ext cx="9429195" cy="10520696"/>
          </a:xfrm>
          <a:custGeom>
            <a:avLst/>
            <a:gdLst>
              <a:gd name="connsiteX0" fmla="*/ 897 w 9429195"/>
              <a:gd name="connsiteY0" fmla="*/ 6896100 h 10520696"/>
              <a:gd name="connsiteX1" fmla="*/ 0 w 9429195"/>
              <a:gd name="connsiteY1" fmla="*/ 6896100 h 10520696"/>
              <a:gd name="connsiteX2" fmla="*/ 2452986 w 9429195"/>
              <a:gd name="connsiteY2" fmla="*/ 3275910 h 10520696"/>
              <a:gd name="connsiteX3" fmla="*/ 2453883 w 9429195"/>
              <a:gd name="connsiteY3" fmla="*/ 3275910 h 10520696"/>
              <a:gd name="connsiteX4" fmla="*/ 2465031 w 9429195"/>
              <a:gd name="connsiteY4" fmla="*/ 10520696 h 10520696"/>
              <a:gd name="connsiteX5" fmla="*/ 2464134 w 9429195"/>
              <a:gd name="connsiteY5" fmla="*/ 10520696 h 10520696"/>
              <a:gd name="connsiteX6" fmla="*/ 4917120 w 9429195"/>
              <a:gd name="connsiteY6" fmla="*/ 6900506 h 10520696"/>
              <a:gd name="connsiteX7" fmla="*/ 4918017 w 9429195"/>
              <a:gd name="connsiteY7" fmla="*/ 6900506 h 10520696"/>
              <a:gd name="connsiteX8" fmla="*/ 9429195 w 9429195"/>
              <a:gd name="connsiteY8" fmla="*/ 10520696 h 10520696"/>
              <a:gd name="connsiteX9" fmla="*/ 8682056 w 9429195"/>
              <a:gd name="connsiteY9" fmla="*/ 10520696 h 10520696"/>
              <a:gd name="connsiteX10" fmla="*/ 6226085 w 9429195"/>
              <a:gd name="connsiteY10" fmla="*/ 6896100 h 10520696"/>
              <a:gd name="connsiteX11" fmla="*/ 6217922 w 9429195"/>
              <a:gd name="connsiteY11" fmla="*/ 6896100 h 10520696"/>
              <a:gd name="connsiteX12" fmla="*/ 3109410 w 9429195"/>
              <a:gd name="connsiteY12" fmla="*/ 2308463 h 10520696"/>
              <a:gd name="connsiteX13" fmla="*/ 3108185 w 9429195"/>
              <a:gd name="connsiteY13" fmla="*/ 2310271 h 10520696"/>
              <a:gd name="connsiteX14" fmla="*/ 1542781 w 9429195"/>
              <a:gd name="connsiteY14" fmla="*/ 0 h 10520696"/>
              <a:gd name="connsiteX15" fmla="*/ 2281046 w 9429195"/>
              <a:gd name="connsiteY15" fmla="*/ 0 h 10520696"/>
              <a:gd name="connsiteX16" fmla="*/ 3476869 w 9429195"/>
              <a:gd name="connsiteY16" fmla="*/ 1764832 h 10520696"/>
              <a:gd name="connsiteX17" fmla="*/ 3482531 w 9429195"/>
              <a:gd name="connsiteY17" fmla="*/ 1756476 h 10520696"/>
              <a:gd name="connsiteX18" fmla="*/ 5942583 w 9429195"/>
              <a:gd name="connsiteY18" fmla="*/ 5387096 h 10520696"/>
              <a:gd name="connsiteX19" fmla="*/ 5946665 w 9429195"/>
              <a:gd name="connsiteY19" fmla="*/ 5381072 h 10520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429195" h="10520696">
                <a:moveTo>
                  <a:pt x="897" y="6896100"/>
                </a:moveTo>
                <a:lnTo>
                  <a:pt x="0" y="6896100"/>
                </a:lnTo>
                <a:lnTo>
                  <a:pt x="2452986" y="3275910"/>
                </a:lnTo>
                <a:lnTo>
                  <a:pt x="2453883" y="3275910"/>
                </a:lnTo>
                <a:close/>
                <a:moveTo>
                  <a:pt x="2465031" y="10520696"/>
                </a:moveTo>
                <a:lnTo>
                  <a:pt x="2464134" y="10520696"/>
                </a:lnTo>
                <a:lnTo>
                  <a:pt x="4917120" y="6900506"/>
                </a:lnTo>
                <a:lnTo>
                  <a:pt x="4918017" y="6900506"/>
                </a:lnTo>
                <a:close/>
                <a:moveTo>
                  <a:pt x="9429195" y="10520696"/>
                </a:moveTo>
                <a:lnTo>
                  <a:pt x="8682056" y="10520696"/>
                </a:lnTo>
                <a:lnTo>
                  <a:pt x="6226085" y="6896100"/>
                </a:lnTo>
                <a:lnTo>
                  <a:pt x="6217922" y="6896100"/>
                </a:lnTo>
                <a:lnTo>
                  <a:pt x="3109410" y="2308463"/>
                </a:lnTo>
                <a:lnTo>
                  <a:pt x="3108185" y="2310271"/>
                </a:lnTo>
                <a:lnTo>
                  <a:pt x="1542781" y="0"/>
                </a:lnTo>
                <a:lnTo>
                  <a:pt x="2281046" y="0"/>
                </a:lnTo>
                <a:lnTo>
                  <a:pt x="3476869" y="1764832"/>
                </a:lnTo>
                <a:lnTo>
                  <a:pt x="3482531" y="1756476"/>
                </a:lnTo>
                <a:lnTo>
                  <a:pt x="5942583" y="5387096"/>
                </a:lnTo>
                <a:lnTo>
                  <a:pt x="5946665" y="5381072"/>
                </a:lnTo>
                <a:close/>
              </a:path>
            </a:pathLst>
          </a:custGeom>
          <a:solidFill>
            <a:schemeClr val="tx1">
              <a:lumMod val="95000"/>
              <a:lumOff val="5000"/>
              <a:alpha val="5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D94DB906-8619-724F-BF5B-70C01064E5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9498" y="1480292"/>
            <a:ext cx="5807502" cy="973173"/>
          </a:xfrm>
        </p:spPr>
        <p:txBody>
          <a:bodyPr anchor="b">
            <a:noAutofit/>
          </a:bodyPr>
          <a:lstStyle>
            <a:lvl1pPr algn="l">
              <a:defRPr sz="3000" b="1">
                <a:latin typeface="+mn-lt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_tradnl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3854A5FA-9D78-CB44-A4D2-AB8ADB0DB1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2846" y="4313233"/>
            <a:ext cx="1440650" cy="5400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37663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</p:bldLst>
  </p:timing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5B0EE21B-D2AB-0D4C-9E7C-53E1F2C844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EC0E964C-9DE7-6447-ACDB-B3FD8758A2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0600" y="3776583"/>
            <a:ext cx="10515600" cy="947817"/>
          </a:xfrm>
        </p:spPr>
        <p:txBody>
          <a:bodyPr>
            <a:normAutofit/>
          </a:bodyPr>
          <a:lstStyle>
            <a:lvl1pPr algn="ctr">
              <a:defRPr sz="2500" b="1">
                <a:latin typeface="+mn-lt"/>
              </a:defRPr>
            </a:lvl1pPr>
          </a:lstStyle>
          <a:p>
            <a:r>
              <a:rPr lang="es-ES" dirty="0"/>
              <a:t>Pie del título</a:t>
            </a:r>
            <a:endParaRPr lang="es-ES_tradnl" dirty="0"/>
          </a:p>
        </p:txBody>
      </p:sp>
      <p:sp>
        <p:nvSpPr>
          <p:cNvPr id="7" name="Marcador de texto 6">
            <a:extLst>
              <a:ext uri="{FF2B5EF4-FFF2-40B4-BE49-F238E27FC236}">
                <a16:creationId xmlns:a16="http://schemas.microsoft.com/office/drawing/2014/main" id="{4FF01229-C57D-674E-BF30-C4B7CF28CDE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90600" y="1905453"/>
            <a:ext cx="10515600" cy="1849358"/>
          </a:xfrm>
        </p:spPr>
        <p:txBody>
          <a:bodyPr anchor="ctr">
            <a:normAutofit/>
          </a:bodyPr>
          <a:lstStyle>
            <a:lvl1pPr marL="0" indent="0" algn="ctr">
              <a:buNone/>
              <a:defRPr sz="5000"/>
            </a:lvl1pPr>
          </a:lstStyle>
          <a:p>
            <a:r>
              <a:rPr lang="es-ES" dirty="0"/>
              <a:t>Título del patró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422120836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9F29F857-14CF-0740-A65E-0D0EC12D9F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73"/>
            <a:ext cx="12192000" cy="6854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577817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8774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770" y="158297"/>
            <a:ext cx="11321143" cy="756103"/>
          </a:xfrm>
        </p:spPr>
        <p:txBody>
          <a:bodyPr>
            <a:normAutofit/>
          </a:bodyPr>
          <a:lstStyle>
            <a:lvl1pPr>
              <a:defRPr lang="en-US" sz="2500" b="1" kern="0" baseline="0" noProof="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Marcador de pie de página 4">
            <a:extLst>
              <a:ext uri="{FF2B5EF4-FFF2-40B4-BE49-F238E27FC236}">
                <a16:creationId xmlns:a16="http://schemas.microsoft.com/office/drawing/2014/main" id="{52D13C19-4AC9-4772-8408-1F687A3007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89416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EE53067-2BDC-4199-B771-E67BD4805DC3}"/>
              </a:ext>
            </a:extLst>
          </p:cNvPr>
          <p:cNvSpPr txBox="1">
            <a:spLocks/>
          </p:cNvSpPr>
          <p:nvPr userDrawn="1"/>
        </p:nvSpPr>
        <p:spPr>
          <a:xfrm>
            <a:off x="9448800" y="638941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A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9F40C7-62A6-184E-86A0-721EB74B45DB}" type="slidenum">
              <a:rPr lang="es-ES_tradnl" smtClean="0"/>
              <a:pPr/>
              <a:t>‹Nº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1291098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609601"/>
            <a:ext cx="10363200" cy="4267200"/>
          </a:xfrm>
        </p:spPr>
        <p:txBody>
          <a:bodyPr/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4953000"/>
            <a:ext cx="85344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4EAE0A-1BE2-4CE9-B00B-E8E76D23A2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7EAACC-E8F0-4279-B62E-6B4D519D80F1}" type="datetimeFigureOut">
              <a:rPr lang="es-AR"/>
              <a:pPr>
                <a:defRPr/>
              </a:pPr>
              <a:t>29/6/2022</a:t>
            </a:fld>
            <a:endParaRPr lang="es-AR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EC18B6-A796-49B7-B5EA-429FA8EE4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AR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CA1D05-A86B-4311-AC32-8BE4633A9E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17F912E-77B7-46A4-8461-E24C288BA489}" type="slidenum">
              <a:rPr lang="es-AR" altLang="es-AR"/>
              <a:pPr/>
              <a:t>‹Nº›</a:t>
            </a:fld>
            <a:endParaRPr lang="es-AR" altLang="es-AR" dirty="0"/>
          </a:p>
        </p:txBody>
      </p:sp>
    </p:spTree>
    <p:extLst>
      <p:ext uri="{BB962C8B-B14F-4D97-AF65-F5344CB8AC3E}">
        <p14:creationId xmlns:p14="http://schemas.microsoft.com/office/powerpoint/2010/main" val="29773630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126021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748123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2">
            <a:extLst>
              <a:ext uri="{FF2B5EF4-FFF2-40B4-BE49-F238E27FC236}">
                <a16:creationId xmlns:a16="http://schemas.microsoft.com/office/drawing/2014/main" id="{C21C3FA0-72A0-DF46-A042-83C83DF7891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6939" y="2464351"/>
            <a:ext cx="6638400" cy="973173"/>
          </a:xfrm>
        </p:spPr>
        <p:txBody>
          <a:bodyPr>
            <a:normAutofit/>
          </a:bodyPr>
          <a:lstStyle>
            <a:lvl1pPr marL="0" indent="0" algn="l">
              <a:buNone/>
              <a:defRPr sz="1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ES_tradnl" dirty="0"/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5422813B-E095-4842-9384-DF0F0B9A1E80}"/>
              </a:ext>
            </a:extLst>
          </p:cNvPr>
          <p:cNvSpPr/>
          <p:nvPr/>
        </p:nvSpPr>
        <p:spPr>
          <a:xfrm>
            <a:off x="7105339" y="3620190"/>
            <a:ext cx="4387781" cy="3237810"/>
          </a:xfrm>
          <a:prstGeom prst="triangle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11" name="Freeform: Shape 23">
            <a:extLst>
              <a:ext uri="{FF2B5EF4-FFF2-40B4-BE49-F238E27FC236}">
                <a16:creationId xmlns:a16="http://schemas.microsoft.com/office/drawing/2014/main" id="{E2D388C6-1D99-0647-8301-D2ACFBABA396}"/>
              </a:ext>
            </a:extLst>
          </p:cNvPr>
          <p:cNvSpPr/>
          <p:nvPr/>
        </p:nvSpPr>
        <p:spPr>
          <a:xfrm rot="10800000">
            <a:off x="6096000" y="0"/>
            <a:ext cx="9429195" cy="10520696"/>
          </a:xfrm>
          <a:custGeom>
            <a:avLst/>
            <a:gdLst>
              <a:gd name="connsiteX0" fmla="*/ 897 w 9429195"/>
              <a:gd name="connsiteY0" fmla="*/ 6896100 h 10520696"/>
              <a:gd name="connsiteX1" fmla="*/ 0 w 9429195"/>
              <a:gd name="connsiteY1" fmla="*/ 6896100 h 10520696"/>
              <a:gd name="connsiteX2" fmla="*/ 2452986 w 9429195"/>
              <a:gd name="connsiteY2" fmla="*/ 3275910 h 10520696"/>
              <a:gd name="connsiteX3" fmla="*/ 2453883 w 9429195"/>
              <a:gd name="connsiteY3" fmla="*/ 3275910 h 10520696"/>
              <a:gd name="connsiteX4" fmla="*/ 2465031 w 9429195"/>
              <a:gd name="connsiteY4" fmla="*/ 10520696 h 10520696"/>
              <a:gd name="connsiteX5" fmla="*/ 2464134 w 9429195"/>
              <a:gd name="connsiteY5" fmla="*/ 10520696 h 10520696"/>
              <a:gd name="connsiteX6" fmla="*/ 4917120 w 9429195"/>
              <a:gd name="connsiteY6" fmla="*/ 6900506 h 10520696"/>
              <a:gd name="connsiteX7" fmla="*/ 4918017 w 9429195"/>
              <a:gd name="connsiteY7" fmla="*/ 6900506 h 10520696"/>
              <a:gd name="connsiteX8" fmla="*/ 9429195 w 9429195"/>
              <a:gd name="connsiteY8" fmla="*/ 10520696 h 10520696"/>
              <a:gd name="connsiteX9" fmla="*/ 8682056 w 9429195"/>
              <a:gd name="connsiteY9" fmla="*/ 10520696 h 10520696"/>
              <a:gd name="connsiteX10" fmla="*/ 6226085 w 9429195"/>
              <a:gd name="connsiteY10" fmla="*/ 6896100 h 10520696"/>
              <a:gd name="connsiteX11" fmla="*/ 6217922 w 9429195"/>
              <a:gd name="connsiteY11" fmla="*/ 6896100 h 10520696"/>
              <a:gd name="connsiteX12" fmla="*/ 3109410 w 9429195"/>
              <a:gd name="connsiteY12" fmla="*/ 2308463 h 10520696"/>
              <a:gd name="connsiteX13" fmla="*/ 3108185 w 9429195"/>
              <a:gd name="connsiteY13" fmla="*/ 2310271 h 10520696"/>
              <a:gd name="connsiteX14" fmla="*/ 1542781 w 9429195"/>
              <a:gd name="connsiteY14" fmla="*/ 0 h 10520696"/>
              <a:gd name="connsiteX15" fmla="*/ 2281046 w 9429195"/>
              <a:gd name="connsiteY15" fmla="*/ 0 h 10520696"/>
              <a:gd name="connsiteX16" fmla="*/ 3476869 w 9429195"/>
              <a:gd name="connsiteY16" fmla="*/ 1764832 h 10520696"/>
              <a:gd name="connsiteX17" fmla="*/ 3482531 w 9429195"/>
              <a:gd name="connsiteY17" fmla="*/ 1756476 h 10520696"/>
              <a:gd name="connsiteX18" fmla="*/ 5942583 w 9429195"/>
              <a:gd name="connsiteY18" fmla="*/ 5387096 h 10520696"/>
              <a:gd name="connsiteX19" fmla="*/ 5946665 w 9429195"/>
              <a:gd name="connsiteY19" fmla="*/ 5381072 h 10520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429195" h="10520696">
                <a:moveTo>
                  <a:pt x="897" y="6896100"/>
                </a:moveTo>
                <a:lnTo>
                  <a:pt x="0" y="6896100"/>
                </a:lnTo>
                <a:lnTo>
                  <a:pt x="2452986" y="3275910"/>
                </a:lnTo>
                <a:lnTo>
                  <a:pt x="2453883" y="3275910"/>
                </a:lnTo>
                <a:close/>
                <a:moveTo>
                  <a:pt x="2465031" y="10520696"/>
                </a:moveTo>
                <a:lnTo>
                  <a:pt x="2464134" y="10520696"/>
                </a:lnTo>
                <a:lnTo>
                  <a:pt x="4917120" y="6900506"/>
                </a:lnTo>
                <a:lnTo>
                  <a:pt x="4918017" y="6900506"/>
                </a:lnTo>
                <a:close/>
                <a:moveTo>
                  <a:pt x="9429195" y="10520696"/>
                </a:moveTo>
                <a:lnTo>
                  <a:pt x="8682056" y="10520696"/>
                </a:lnTo>
                <a:lnTo>
                  <a:pt x="6226085" y="6896100"/>
                </a:lnTo>
                <a:lnTo>
                  <a:pt x="6217922" y="6896100"/>
                </a:lnTo>
                <a:lnTo>
                  <a:pt x="3109410" y="2308463"/>
                </a:lnTo>
                <a:lnTo>
                  <a:pt x="3108185" y="2310271"/>
                </a:lnTo>
                <a:lnTo>
                  <a:pt x="1542781" y="0"/>
                </a:lnTo>
                <a:lnTo>
                  <a:pt x="2281046" y="0"/>
                </a:lnTo>
                <a:lnTo>
                  <a:pt x="3476869" y="1764832"/>
                </a:lnTo>
                <a:lnTo>
                  <a:pt x="3482531" y="1756476"/>
                </a:lnTo>
                <a:lnTo>
                  <a:pt x="5942583" y="5387096"/>
                </a:lnTo>
                <a:lnTo>
                  <a:pt x="5946665" y="5381072"/>
                </a:lnTo>
                <a:close/>
              </a:path>
            </a:pathLst>
          </a:custGeom>
          <a:solidFill>
            <a:schemeClr val="tx1">
              <a:lumMod val="95000"/>
              <a:lumOff val="5000"/>
              <a:alpha val="5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>
              <a:solidFill>
                <a:schemeClr val="accent4"/>
              </a:solidFill>
            </a:endParaRPr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D94DB906-8619-724F-BF5B-70C01064E5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6939" y="1480292"/>
            <a:ext cx="6638400" cy="973173"/>
          </a:xfrm>
        </p:spPr>
        <p:txBody>
          <a:bodyPr anchor="b">
            <a:noAutofit/>
          </a:bodyPr>
          <a:lstStyle>
            <a:lvl1pPr algn="l">
              <a:defRPr sz="2600" b="1">
                <a:latin typeface="+mn-lt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_tradnl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B18CEE42-8066-E248-9C47-8837712541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2846" y="4313233"/>
            <a:ext cx="1440650" cy="5400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54773770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04427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387061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23996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590799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7287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476497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5892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6554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293990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76239" indent="-24764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033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124C03-AF87-094E-BE37-1E8D56AB6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8929"/>
            <a:ext cx="10515600" cy="603704"/>
          </a:xfrm>
        </p:spPr>
        <p:txBody>
          <a:bodyPr>
            <a:normAutofit/>
          </a:bodyPr>
          <a:lstStyle>
            <a:lvl1pPr>
              <a:defRPr sz="3000" b="1">
                <a:latin typeface="+mn-lt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_tradnl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49B28680-143F-A540-BD6D-05E68CC056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990600"/>
            <a:ext cx="10515600" cy="5365750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7841A492-5C39-2941-862B-B138B3698A3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1113135" y="6369685"/>
            <a:ext cx="938530" cy="35179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B632359F-481B-44B6-A467-8F32ACF1A417}"/>
              </a:ext>
            </a:extLst>
          </p:cNvPr>
          <p:cNvSpPr txBox="1"/>
          <p:nvPr/>
        </p:nvSpPr>
        <p:spPr>
          <a:xfrm>
            <a:off x="52251" y="6514794"/>
            <a:ext cx="509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3C41566-B088-4955-AD2F-3F2378B38EB1}" type="slidenum">
              <a:rPr lang="es-ES" sz="1400" b="1" smtClean="0">
                <a:solidFill>
                  <a:schemeClr val="tx2">
                    <a:lumMod val="50000"/>
                  </a:schemeClr>
                </a:solidFill>
              </a:rPr>
              <a:pPr/>
              <a:t>‹Nº›</a:t>
            </a:fld>
            <a:endParaRPr lang="es-AR" sz="1100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2064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452420"/>
            <a:ext cx="10363200" cy="4627563"/>
          </a:xfrm>
        </p:spPr>
        <p:txBody>
          <a:bodyPr numCol="2" spcCol="274320">
            <a:normAutofit/>
          </a:bodyPr>
          <a:lstStyle>
            <a:lvl1pPr marL="0" indent="0">
              <a:spcBef>
                <a:spcPts val="1200"/>
              </a:spcBef>
              <a:buNone/>
              <a:defRPr sz="1600"/>
            </a:lvl1pPr>
            <a:lvl2pPr marL="228594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2pPr>
            <a:lvl3pPr marL="457189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3pPr>
            <a:lvl4pPr marL="685783" indent="-228594">
              <a:spcBef>
                <a:spcPts val="1200"/>
              </a:spcBef>
              <a:buFont typeface="Arial" panose="020B0604020202020204" pitchFamily="34" charset="0"/>
              <a:buChar char="•"/>
              <a:defRPr sz="1600"/>
            </a:lvl4pPr>
            <a:lvl5pPr marL="914377" indent="-228594">
              <a:spcBef>
                <a:spcPts val="1200"/>
              </a:spcBef>
              <a:buFont typeface="Open Sans Light" panose="020B0306030504020204" pitchFamily="34" charset="0"/>
              <a:buChar char="–"/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735892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5242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1853094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19200"/>
            <a:ext cx="50800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1523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560285"/>
            <a:ext cx="5082117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219200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560285"/>
            <a:ext cx="5084232" cy="456587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6327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mparison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462284"/>
            <a:ext cx="5082117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1803370"/>
            <a:ext cx="5082117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462284"/>
            <a:ext cx="5084232" cy="30777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1803370"/>
            <a:ext cx="5084232" cy="436883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157094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19026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7579244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5709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049016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98032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9147048" y="0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049016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098032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9147048" y="3419856"/>
            <a:ext cx="3063240" cy="3438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641875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437638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875276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7312914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9750552" y="0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0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437638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4875276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7312914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9750552" y="2281428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244678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884420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7322058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4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750552" y="4562856"/>
            <a:ext cx="2441448" cy="2295144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219674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C0E964C-9DE7-6447-ACDB-B3FD8758A2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8928"/>
            <a:ext cx="10515600" cy="360000"/>
          </a:xfrm>
        </p:spPr>
        <p:txBody>
          <a:bodyPr>
            <a:normAutofit/>
          </a:bodyPr>
          <a:lstStyle>
            <a:lvl1pPr>
              <a:defRPr sz="2400" b="1">
                <a:latin typeface="+mn-lt"/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E4D30196-A194-7244-B90E-469475C201A4}"/>
              </a:ext>
            </a:extLst>
          </p:cNvPr>
          <p:cNvCxnSpPr/>
          <p:nvPr/>
        </p:nvCxnSpPr>
        <p:spPr>
          <a:xfrm>
            <a:off x="838200" y="745877"/>
            <a:ext cx="10515600" cy="0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n 5">
            <a:extLst>
              <a:ext uri="{FF2B5EF4-FFF2-40B4-BE49-F238E27FC236}">
                <a16:creationId xmlns:a16="http://schemas.microsoft.com/office/drawing/2014/main" id="{C96CC7DA-0515-D744-BED4-5D8C308233B1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1113135" y="6369685"/>
            <a:ext cx="938530" cy="35179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3D624429-1C23-4627-B7BD-5B14CF45B762}"/>
              </a:ext>
            </a:extLst>
          </p:cNvPr>
          <p:cNvSpPr txBox="1"/>
          <p:nvPr/>
        </p:nvSpPr>
        <p:spPr>
          <a:xfrm>
            <a:off x="52251" y="6514794"/>
            <a:ext cx="509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3C41566-B088-4955-AD2F-3F2378B38EB1}" type="slidenum">
              <a:rPr lang="es-ES" sz="1400" b="1" smtClean="0">
                <a:solidFill>
                  <a:schemeClr val="tx2">
                    <a:lumMod val="50000"/>
                  </a:schemeClr>
                </a:solidFill>
              </a:rPr>
              <a:pPr/>
              <a:t>‹Nº›</a:t>
            </a:fld>
            <a:endParaRPr lang="es-AR" sz="1100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2805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028749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4057498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086247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0143744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114996" y="0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0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2028749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057498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086247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10143744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8114996" y="1709928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0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028749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4057498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6086247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36"/>
          </p:nvPr>
        </p:nvSpPr>
        <p:spPr>
          <a:xfrm>
            <a:off x="10143744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14996" y="3419856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0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2028749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40"/>
          </p:nvPr>
        </p:nvSpPr>
        <p:spPr>
          <a:xfrm>
            <a:off x="4057498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41"/>
          </p:nvPr>
        </p:nvSpPr>
        <p:spPr>
          <a:xfrm>
            <a:off x="6086247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10143744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43"/>
          </p:nvPr>
        </p:nvSpPr>
        <p:spPr>
          <a:xfrm>
            <a:off x="8114996" y="5129784"/>
            <a:ext cx="2048256" cy="1728216"/>
          </a:xfrm>
        </p:spPr>
        <p:txBody>
          <a:bodyPr lIns="182880" tIns="91440" rIns="182880" bIns="91440"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654824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413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3407438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5560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976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8839200" y="4980565"/>
            <a:ext cx="2438400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4290922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8757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4431792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7949184" y="4980565"/>
            <a:ext cx="3328416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2424494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36503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3407439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0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192011" y="4980565"/>
            <a:ext cx="508558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3513457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9227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3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5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1476165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4984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5568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6152" y="3055281"/>
            <a:ext cx="2441448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47655726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1061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cí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C9482B3-B424-724D-A8F2-67B16AA96F76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1113135" y="6369685"/>
            <a:ext cx="938530" cy="35179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19ECCA26-7CE9-4775-9AB8-E6887C997D2E}"/>
              </a:ext>
            </a:extLst>
          </p:cNvPr>
          <p:cNvSpPr txBox="1"/>
          <p:nvPr/>
        </p:nvSpPr>
        <p:spPr>
          <a:xfrm>
            <a:off x="52251" y="6514794"/>
            <a:ext cx="509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3C41566-B088-4955-AD2F-3F2378B38EB1}" type="slidenum">
              <a:rPr lang="es-ES" sz="1400" b="1" smtClean="0">
                <a:solidFill>
                  <a:schemeClr val="tx2">
                    <a:lumMod val="50000"/>
                  </a:schemeClr>
                </a:solidFill>
              </a:rPr>
              <a:pPr/>
              <a:t>‹Nº›</a:t>
            </a:fld>
            <a:endParaRPr lang="es-AR" sz="1100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2452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4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3055281"/>
            <a:ext cx="3328416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1542540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55866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all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accent1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147218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50800" dir="5400000" algn="t" rotWithShape="0">
              <a:schemeClr val="bg2"/>
            </a:outerShdw>
          </a:effectLst>
        </p:spPr>
        <p:txBody>
          <a:bodyPr vert="horz" lIns="0" tIns="0" rIns="0" bIns="0" rtlCol="0" anchor="ctr">
            <a:normAutofit/>
          </a:bodyPr>
          <a:lstStyle>
            <a:lvl1pPr marL="0" indent="0" algn="ctr">
              <a:buNone/>
              <a:defRPr lang="en-US" sz="1400"/>
            </a:lvl1pPr>
          </a:lstStyle>
          <a:p>
            <a:pPr lvl="0"/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3055281"/>
            <a:ext cx="5084064" cy="298833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99813133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538620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ght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33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49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65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8184" y="1397000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913384" y="4717007"/>
            <a:ext cx="2441448" cy="1326605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3553968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0"/>
          </p:nvPr>
        </p:nvSpPr>
        <p:spPr>
          <a:xfrm>
            <a:off x="6194552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1"/>
          </p:nvPr>
        </p:nvSpPr>
        <p:spPr>
          <a:xfrm>
            <a:off x="8835136" y="4717007"/>
            <a:ext cx="2441448" cy="132660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133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35549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61965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8838184" y="3057004"/>
            <a:ext cx="2438400" cy="1476165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6967469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979004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720990"/>
            <a:ext cx="3328416" cy="1370248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14400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4431792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7949184" y="3060985"/>
            <a:ext cx="3328416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230338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Gri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878823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Grid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5925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3536" y="1397000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704405"/>
            <a:ext cx="5084064" cy="1339207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915925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6193536" y="3060985"/>
            <a:ext cx="5085589" cy="1472184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899457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05989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4FBAD3C-B2D0-914E-B9D4-9DF141592B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12DEC20-847E-714B-916D-979D675F29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990600"/>
            <a:ext cx="5181600" cy="53657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9AA79178-7ADF-B942-91DC-24ABC62BF9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990600"/>
            <a:ext cx="5181600" cy="53657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0BE6996-A368-2544-AE4A-8BA7A82111C8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1113135" y="6369685"/>
            <a:ext cx="938530" cy="35179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E4F5DC86-A936-40C7-890C-4134FED12BB8}"/>
              </a:ext>
            </a:extLst>
          </p:cNvPr>
          <p:cNvSpPr txBox="1"/>
          <p:nvPr/>
        </p:nvSpPr>
        <p:spPr>
          <a:xfrm>
            <a:off x="52251" y="6514794"/>
            <a:ext cx="509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3C41566-B088-4955-AD2F-3F2378B38EB1}" type="slidenum">
              <a:rPr lang="es-ES" sz="1400" b="1" smtClean="0">
                <a:solidFill>
                  <a:schemeClr val="tx2">
                    <a:lumMod val="50000"/>
                  </a:schemeClr>
                </a:solidFill>
              </a:rPr>
              <a:pPr/>
              <a:t>‹Nº›</a:t>
            </a:fld>
            <a:endParaRPr lang="es-AR" sz="1100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50480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6999"/>
            <a:ext cx="2438400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4604358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4604358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4604358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4604358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3776914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7969884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6999"/>
            <a:ext cx="3328416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604358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4604358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4604358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59815666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ar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4933091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6999"/>
            <a:ext cx="5085589" cy="4266109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4912134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4912134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106859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51213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35560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1976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8839200" y="1397000"/>
            <a:ext cx="2438400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914400" y="2982317"/>
            <a:ext cx="2441448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554984" y="2982317"/>
            <a:ext cx="2441448" cy="1058751"/>
          </a:xfrm>
          <a:solidFill>
            <a:schemeClr val="accent3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6195568" y="2982317"/>
            <a:ext cx="2441448" cy="1058751"/>
          </a:xfrm>
          <a:solidFill>
            <a:schemeClr val="accent5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8836152" y="2982317"/>
            <a:ext cx="2441448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2441448" cy="1713558"/>
          </a:xfrm>
        </p:spPr>
        <p:txBody>
          <a:bodyPr/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4"/>
          </p:nvPr>
        </p:nvSpPr>
        <p:spPr>
          <a:xfrm>
            <a:off x="3554984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25"/>
          </p:nvPr>
        </p:nvSpPr>
        <p:spPr>
          <a:xfrm>
            <a:off x="6195568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Content Placeholder 13"/>
          <p:cNvSpPr>
            <a:spLocks noGrp="1"/>
          </p:cNvSpPr>
          <p:nvPr>
            <p:ph sz="quarter" idx="26"/>
          </p:nvPr>
        </p:nvSpPr>
        <p:spPr>
          <a:xfrm>
            <a:off x="8836152" y="4212305"/>
            <a:ext cx="2441448" cy="1713558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478410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80531291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 dirty="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431792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7949184" y="1397000"/>
            <a:ext cx="3328416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2982317"/>
            <a:ext cx="3328416" cy="1058751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4431792" y="2982317"/>
            <a:ext cx="3328416" cy="1058751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7949184" y="2982317"/>
            <a:ext cx="3328416" cy="1058751"/>
          </a:xfrm>
          <a:solidFill>
            <a:schemeClr val="bg2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</p:nvPr>
        </p:nvSpPr>
        <p:spPr>
          <a:xfrm>
            <a:off x="4431792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3"/>
          <p:cNvSpPr>
            <a:spLocks noGrp="1"/>
          </p:cNvSpPr>
          <p:nvPr>
            <p:ph sz="quarter" idx="20"/>
          </p:nvPr>
        </p:nvSpPr>
        <p:spPr>
          <a:xfrm>
            <a:off x="7949184" y="4212305"/>
            <a:ext cx="3328416" cy="1750692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16069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2470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C8B16DE-AAB7-A044-B49D-C0E34BF30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93A02F32-F7CE-794D-8ABD-A15B1BCF99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>
            <a:noAutofit/>
          </a:bodyPr>
          <a:lstStyle>
            <a:lvl1pPr marL="0" indent="0">
              <a:buNone/>
              <a:defRPr sz="2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4A81E29F-60D5-0840-9AE2-BD73F92E50A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4"/>
            <a:ext cx="5157787" cy="38512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09F8F786-F011-DA41-8C5B-703D8E9E4EF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Autofit/>
          </a:bodyPr>
          <a:lstStyle>
            <a:lvl1pPr marL="0" indent="0">
              <a:buNone/>
              <a:defRPr sz="2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1FAA73BF-AB11-5B40-B3A1-D501AB847F6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183188" cy="385127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588B2808-00AE-BD4E-A0C9-39A92ED6371B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1113135" y="6369685"/>
            <a:ext cx="938530" cy="35179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9" name="CuadroTexto 8">
            <a:extLst>
              <a:ext uri="{FF2B5EF4-FFF2-40B4-BE49-F238E27FC236}">
                <a16:creationId xmlns:a16="http://schemas.microsoft.com/office/drawing/2014/main" id="{514F9E05-AAE1-48A4-96F6-3FB77110AB83}"/>
              </a:ext>
            </a:extLst>
          </p:cNvPr>
          <p:cNvSpPr txBox="1"/>
          <p:nvPr/>
        </p:nvSpPr>
        <p:spPr>
          <a:xfrm>
            <a:off x="52251" y="6514794"/>
            <a:ext cx="509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3C41566-B088-4955-AD2F-3F2378B38EB1}" type="slidenum">
              <a:rPr lang="es-ES" sz="1400" b="1" smtClean="0">
                <a:solidFill>
                  <a:schemeClr val="tx2">
                    <a:lumMod val="50000"/>
                  </a:schemeClr>
                </a:solidFill>
              </a:rPr>
              <a:pPr/>
              <a:t>‹Nº›</a:t>
            </a:fld>
            <a:endParaRPr lang="es-AR" sz="1100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1380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Bar Tex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0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192011" y="1397000"/>
            <a:ext cx="5085589" cy="2644068"/>
          </a:xfrm>
          <a:solidFill>
            <a:schemeClr val="bg1">
              <a:lumMod val="90000"/>
              <a:lumOff val="10000"/>
            </a:schemeClr>
          </a:solidFill>
        </p:spPr>
        <p:txBody>
          <a:bodyPr vert="horz" lIns="0" tIns="0" rIns="0" bIns="0" rtlCol="0" anchor="ctr">
            <a:normAutofit/>
          </a:bodyPr>
          <a:lstStyle>
            <a:lvl1pPr>
              <a:defRPr lang="en-US" sz="1400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914400" y="3290093"/>
            <a:ext cx="5084064" cy="750975"/>
          </a:xfrm>
          <a:solidFill>
            <a:schemeClr val="accent1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6193536" y="3290093"/>
            <a:ext cx="5084064" cy="750975"/>
          </a:xfrm>
          <a:solidFill>
            <a:schemeClr val="accent4">
              <a:alpha val="80000"/>
            </a:schemeClr>
          </a:solidFill>
        </p:spPr>
        <p:txBody>
          <a:bodyPr lIns="182880" tIns="91440" rIns="182880" bIns="91440" anchor="b" anchorCtr="0">
            <a:sp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</a:defRPr>
            </a:lvl2pPr>
            <a:lvl3pPr marL="342900" indent="-171450">
              <a:defRPr sz="1400">
                <a:solidFill>
                  <a:srgbClr val="FFFFFF"/>
                </a:solidFill>
              </a:defRPr>
            </a:lvl3pPr>
            <a:lvl4pPr marL="514350" indent="-171450">
              <a:defRPr sz="1400">
                <a:solidFill>
                  <a:srgbClr val="FFFFFF"/>
                </a:solidFill>
              </a:defRPr>
            </a:lvl4pPr>
            <a:lvl5pPr marL="742950" indent="-228600">
              <a:defRPr sz="14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13"/>
          <p:cNvSpPr>
            <a:spLocks noGrp="1"/>
          </p:cNvSpPr>
          <p:nvPr>
            <p:ph sz="quarter" idx="18"/>
          </p:nvPr>
        </p:nvSpPr>
        <p:spPr>
          <a:xfrm>
            <a:off x="914400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3"/>
          <p:cNvSpPr>
            <a:spLocks noGrp="1"/>
          </p:cNvSpPr>
          <p:nvPr>
            <p:ph sz="quarter" idx="19"/>
          </p:nvPr>
        </p:nvSpPr>
        <p:spPr>
          <a:xfrm>
            <a:off x="6193536" y="4212305"/>
            <a:ext cx="5084064" cy="1703066"/>
          </a:xfrm>
        </p:spPr>
        <p:txBody>
          <a:bodyPr/>
          <a:lstStyle>
            <a:lvl1pPr marL="0" indent="0">
              <a:buNone/>
              <a:defRPr sz="2100"/>
            </a:lvl1pPr>
            <a:lvl2pPr marL="171450" indent="-171450">
              <a:buFont typeface="Arial" panose="020B0604020202020204" pitchFamily="34" charset="0"/>
              <a:buChar char="•"/>
              <a:defRPr sz="1400"/>
            </a:lvl2pPr>
            <a:lvl3pPr marL="342900" indent="-171450">
              <a:defRPr sz="1400"/>
            </a:lvl3pPr>
            <a:lvl4pPr marL="514350" indent="-171450"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14835051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300846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3483710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546239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392033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7454562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9300356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Content Placeholder 13"/>
          <p:cNvSpPr>
            <a:spLocks noGrp="1"/>
          </p:cNvSpPr>
          <p:nvPr>
            <p:ph sz="quarter" idx="24" hasCustomPrompt="1"/>
          </p:nvPr>
        </p:nvSpPr>
        <p:spPr>
          <a:xfrm>
            <a:off x="10362885" y="1639789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3483710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4546239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6392033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7454562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9300356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0" name="Content Placeholder 13"/>
          <p:cNvSpPr>
            <a:spLocks noGrp="1"/>
          </p:cNvSpPr>
          <p:nvPr>
            <p:ph sz="quarter" idx="32" hasCustomPrompt="1"/>
          </p:nvPr>
        </p:nvSpPr>
        <p:spPr>
          <a:xfrm>
            <a:off x="10362885" y="3153547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3483710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4546239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6392033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7454562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9300356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bg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8" name="Content Placeholder 13"/>
          <p:cNvSpPr>
            <a:spLocks noGrp="1"/>
          </p:cNvSpPr>
          <p:nvPr>
            <p:ph sz="quarter" idx="40" hasCustomPrompt="1"/>
          </p:nvPr>
        </p:nvSpPr>
        <p:spPr>
          <a:xfrm>
            <a:off x="10362885" y="4667304"/>
            <a:ext cx="137922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0559951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94697180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9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153548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15354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153547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575387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Content Placeholder 13"/>
          <p:cNvSpPr>
            <a:spLocks noGrp="1"/>
          </p:cNvSpPr>
          <p:nvPr>
            <p:ph sz="quarter" idx="34" hasCustomPrompt="1"/>
          </p:nvPr>
        </p:nvSpPr>
        <p:spPr>
          <a:xfrm>
            <a:off x="1637916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4360325" y="4667305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4" name="Content Placeholder 13"/>
          <p:cNvSpPr>
            <a:spLocks noGrp="1"/>
          </p:cNvSpPr>
          <p:nvPr>
            <p:ph sz="quarter" idx="36" hasCustomPrompt="1"/>
          </p:nvPr>
        </p:nvSpPr>
        <p:spPr>
          <a:xfrm>
            <a:off x="5426633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5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8145262" y="4667304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6" name="Content Placeholder 13"/>
          <p:cNvSpPr>
            <a:spLocks noGrp="1"/>
          </p:cNvSpPr>
          <p:nvPr>
            <p:ph sz="quarter" idx="38" hasCustomPrompt="1"/>
          </p:nvPr>
        </p:nvSpPr>
        <p:spPr>
          <a:xfrm>
            <a:off x="9215349" y="4667304"/>
            <a:ext cx="2314408" cy="978408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7845940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100102856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1637916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360325" y="1639790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5426633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145262" y="1639789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9215349" y="1639788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1637916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4360325" y="3886577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5426633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8145262" y="3886576"/>
            <a:ext cx="914400" cy="914400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8" name="Content Placeholder 13"/>
          <p:cNvSpPr>
            <a:spLocks noGrp="1"/>
          </p:cNvSpPr>
          <p:nvPr>
            <p:ph sz="quarter" idx="30" hasCustomPrompt="1"/>
          </p:nvPr>
        </p:nvSpPr>
        <p:spPr>
          <a:xfrm>
            <a:off x="9215349" y="3886575"/>
            <a:ext cx="231440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9149902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25698926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75387" y="1639790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2295374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279803" y="1639790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8003569" y="1639788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575387" y="3886577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4" name="Content Placeholder 13"/>
          <p:cNvSpPr>
            <a:spLocks noGrp="1"/>
          </p:cNvSpPr>
          <p:nvPr>
            <p:ph sz="quarter" idx="26" hasCustomPrompt="1"/>
          </p:nvPr>
        </p:nvSpPr>
        <p:spPr>
          <a:xfrm>
            <a:off x="2295374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6279803" y="3886577"/>
            <a:ext cx="1534154" cy="1534154"/>
          </a:xfr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6" name="Content Placeholder 13"/>
          <p:cNvSpPr>
            <a:spLocks noGrp="1"/>
          </p:cNvSpPr>
          <p:nvPr>
            <p:ph sz="quarter" idx="28" hasCustomPrompt="1"/>
          </p:nvPr>
        </p:nvSpPr>
        <p:spPr>
          <a:xfrm>
            <a:off x="8003569" y="3886575"/>
            <a:ext cx="3558678" cy="1942241"/>
          </a:xfrm>
        </p:spPr>
        <p:txBody>
          <a:bodyPr/>
          <a:lstStyle>
            <a:lvl1pPr marL="0" indent="0">
              <a:lnSpc>
                <a:spcPct val="80000"/>
              </a:lnSpc>
              <a:buNone/>
              <a:defRPr sz="14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i="1"/>
            </a:lvl2pPr>
            <a:lvl3pPr marL="0" indent="0">
              <a:buNone/>
              <a:defRPr sz="12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7911141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am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</p:spTree>
    <p:extLst>
      <p:ext uri="{BB962C8B-B14F-4D97-AF65-F5344CB8AC3E}">
        <p14:creationId xmlns:p14="http://schemas.microsoft.com/office/powerpoint/2010/main" val="3583451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DE62F46-BFCF-304B-8DD9-ED517FDC19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C82E030-19B8-6C4E-83D5-28BC470A5B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4"/>
            <a:ext cx="6172200" cy="53689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3932B508-7FC6-1646-944C-D3E594043B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398"/>
            <a:ext cx="3932237" cy="429895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896DDA6A-5561-7A4B-914A-BE2FC6A4FBE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1113135" y="6369685"/>
            <a:ext cx="938530" cy="35179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7E56C4A8-3B0D-4D54-B821-38D18348EFF1}"/>
              </a:ext>
            </a:extLst>
          </p:cNvPr>
          <p:cNvSpPr txBox="1"/>
          <p:nvPr/>
        </p:nvSpPr>
        <p:spPr>
          <a:xfrm>
            <a:off x="52251" y="6514794"/>
            <a:ext cx="509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3C41566-B088-4955-AD2F-3F2378B38EB1}" type="slidenum">
              <a:rPr lang="es-ES" sz="1400" b="1" smtClean="0">
                <a:solidFill>
                  <a:schemeClr val="tx2">
                    <a:lumMod val="50000"/>
                  </a:schemeClr>
                </a:solidFill>
              </a:rPr>
              <a:pPr/>
              <a:t>‹Nº›</a:t>
            </a:fld>
            <a:endParaRPr lang="es-AR" sz="1100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03575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564225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575387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5349163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4360325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9134100" y="1639789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8145262" y="3256992"/>
            <a:ext cx="3376937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8663163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am Sub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914400" y="933450"/>
            <a:ext cx="10363200" cy="406400"/>
          </a:xfrm>
        </p:spPr>
        <p:txBody>
          <a:bodyPr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None/>
              <a:defRPr sz="1800" baseline="0"/>
            </a:lvl1pPr>
          </a:lstStyle>
          <a:p>
            <a:pPr lvl="0"/>
            <a:r>
              <a:rPr lang="en-US" dirty="0"/>
              <a:t>Click here to edit subtitl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0334484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221602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1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 hasCustomPrompt="1"/>
          </p:nvPr>
        </p:nvSpPr>
        <p:spPr>
          <a:xfrm>
            <a:off x="719254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4025464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3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Content Placeholder 13"/>
          <p:cNvSpPr>
            <a:spLocks noGrp="1"/>
          </p:cNvSpPr>
          <p:nvPr>
            <p:ph sz="quarter" idx="20" hasCustomPrompt="1"/>
          </p:nvPr>
        </p:nvSpPr>
        <p:spPr>
          <a:xfrm>
            <a:off x="3523116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6829326" y="1639790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accent5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Content Placeholder 13"/>
          <p:cNvSpPr>
            <a:spLocks noGrp="1"/>
          </p:cNvSpPr>
          <p:nvPr>
            <p:ph sz="quarter" idx="22" hasCustomPrompt="1"/>
          </p:nvPr>
        </p:nvSpPr>
        <p:spPr>
          <a:xfrm>
            <a:off x="6326978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42"/>
          </p:nvPr>
        </p:nvSpPr>
        <p:spPr>
          <a:xfrm>
            <a:off x="9633189" y="1639789"/>
            <a:ext cx="1399260" cy="1399260"/>
          </a:xfrm>
          <a:prstGeom prst="ellipse">
            <a:avLst/>
          </a:prstGeom>
          <a:solidFill>
            <a:schemeClr val="bg1">
              <a:lumMod val="90000"/>
              <a:lumOff val="10000"/>
            </a:schemeClr>
          </a:solidFill>
          <a:ln w="3175">
            <a:solidFill>
              <a:schemeClr val="bg1">
                <a:lumMod val="50000"/>
                <a:alpha val="40000"/>
              </a:schemeClr>
            </a:solidFill>
          </a:ln>
          <a:effectLst>
            <a:outerShdw dist="25400" dir="5400000" algn="t" rotWithShape="0">
              <a:schemeClr val="tx2"/>
            </a:outerShdw>
          </a:effectLst>
        </p:spPr>
        <p:txBody>
          <a:bodyPr anchor="ctr" anchorCtr="0">
            <a:normAutofit/>
          </a:bodyPr>
          <a:lstStyle>
            <a:lvl1pPr marL="0" indent="0" algn="ctr">
              <a:buNone/>
              <a:defRPr sz="105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43" hasCustomPrompt="1"/>
          </p:nvPr>
        </p:nvSpPr>
        <p:spPr>
          <a:xfrm>
            <a:off x="9130841" y="3256992"/>
            <a:ext cx="2403956" cy="2403219"/>
          </a:xfrm>
        </p:spPr>
        <p:txBody>
          <a:bodyPr>
            <a:normAutofit/>
          </a:bodyPr>
          <a:lstStyle>
            <a:lvl1pPr marL="0" indent="0" algn="ctr">
              <a:lnSpc>
                <a:spcPct val="80000"/>
              </a:lnSpc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 algn="ctr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i="1"/>
            </a:lvl2pPr>
            <a:lvl3pPr marL="0" indent="0" algn="ctr">
              <a:buNone/>
              <a:defRPr sz="1400"/>
            </a:lvl3pPr>
            <a:lvl4pPr marL="514350" indent="-171450"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First </a:t>
            </a:r>
            <a:r>
              <a:rPr lang="en-US" dirty="0" err="1"/>
              <a:t>Lastname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8538037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14401" y="1268759"/>
            <a:ext cx="2352260" cy="3535680"/>
          </a:xfrm>
          <a:solidFill>
            <a:schemeClr val="bg1">
              <a:lumMod val="90000"/>
              <a:lumOff val="1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257971" y="1268759"/>
            <a:ext cx="2352260" cy="3535680"/>
          </a:xfrm>
          <a:solidFill>
            <a:schemeClr val="bg1">
              <a:lumMod val="90000"/>
              <a:lumOff val="1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3467708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400"/>
            </a:lvl2pPr>
            <a:lvl3pPr marL="150813" indent="-150813">
              <a:defRPr sz="1400"/>
            </a:lvl3pPr>
            <a:lvl4pPr marL="401638" indent="-207963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8797789" y="1268759"/>
            <a:ext cx="2479811" cy="3535680"/>
          </a:xfrm>
        </p:spPr>
        <p:txBody>
          <a:bodyPr>
            <a:noAutofit/>
          </a:bodyPr>
          <a:lstStyle>
            <a:lvl1pPr marL="0" indent="0">
              <a:buNone/>
              <a:defRPr sz="1400" b="1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0" indent="0">
              <a:buFontTx/>
              <a:buNone/>
              <a:defRPr sz="1400"/>
            </a:lvl2pPr>
            <a:lvl3pPr marL="150813" indent="-150813">
              <a:defRPr sz="1400"/>
            </a:lvl3pPr>
            <a:lvl4pPr marL="401638" indent="-207963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14400" y="4980565"/>
            <a:ext cx="503311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6257971" y="4980565"/>
            <a:ext cx="5019629" cy="958851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  <a:lvl2pPr marL="152396" indent="-152396">
              <a:buFont typeface="Arial" panose="020B0604020202020204" pitchFamily="34" charset="0"/>
              <a:buChar char="•"/>
              <a:defRPr sz="1400"/>
            </a:lvl2pPr>
            <a:lvl3pPr marL="304792" indent="-152396">
              <a:defRPr sz="1400"/>
            </a:lvl3pPr>
            <a:lvl4pPr marL="533387" indent="-228594">
              <a:defRPr sz="1400"/>
            </a:lvl4pPr>
            <a:lvl5pPr marL="761981" indent="-228594"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97848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E026255-0B34-8841-B33C-982812945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41A2B75D-2A8E-B94A-AFB3-7FB71A1BD06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53689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dirty="0"/>
              <a:t>Haga clic en el icono para agregar una imagen</a:t>
            </a:r>
            <a:endParaRPr lang="es-ES_tradnl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B539AC0A-07F3-9042-87D3-145253EEAA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399"/>
            <a:ext cx="3932237" cy="429895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505729E-DB4F-9D47-85BC-309CB8DF4CA5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1113135" y="6369685"/>
            <a:ext cx="938530" cy="35179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42FCCDD7-35CA-4DBF-9AF5-4BC7706B5F4E}"/>
              </a:ext>
            </a:extLst>
          </p:cNvPr>
          <p:cNvSpPr txBox="1"/>
          <p:nvPr/>
        </p:nvSpPr>
        <p:spPr>
          <a:xfrm>
            <a:off x="52251" y="6514794"/>
            <a:ext cx="5094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63C41566-B088-4955-AD2F-3F2378B38EB1}" type="slidenum">
              <a:rPr lang="es-ES" sz="1400" b="1" smtClean="0">
                <a:solidFill>
                  <a:schemeClr val="tx2">
                    <a:lumMod val="50000"/>
                  </a:schemeClr>
                </a:solidFill>
              </a:rPr>
              <a:pPr/>
              <a:t>‹Nº›</a:t>
            </a:fld>
            <a:endParaRPr lang="es-AR" sz="1100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1772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38.xml"/><Relationship Id="rId34" Type="http://schemas.openxmlformats.org/officeDocument/2006/relationships/slideLayout" Target="../slideLayouts/slideLayout51.xml"/><Relationship Id="rId42" Type="http://schemas.openxmlformats.org/officeDocument/2006/relationships/slideLayout" Target="../slideLayouts/slideLayout59.xml"/><Relationship Id="rId47" Type="http://schemas.openxmlformats.org/officeDocument/2006/relationships/slideLayout" Target="../slideLayouts/slideLayout64.xml"/><Relationship Id="rId50" Type="http://schemas.openxmlformats.org/officeDocument/2006/relationships/slideLayout" Target="../slideLayouts/slideLayout67.xml"/><Relationship Id="rId55" Type="http://schemas.openxmlformats.org/officeDocument/2006/relationships/slideLayout" Target="../slideLayouts/slideLayout72.xml"/><Relationship Id="rId6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32" Type="http://schemas.openxmlformats.org/officeDocument/2006/relationships/slideLayout" Target="../slideLayouts/slideLayout49.xml"/><Relationship Id="rId37" Type="http://schemas.openxmlformats.org/officeDocument/2006/relationships/slideLayout" Target="../slideLayouts/slideLayout54.xml"/><Relationship Id="rId40" Type="http://schemas.openxmlformats.org/officeDocument/2006/relationships/slideLayout" Target="../slideLayouts/slideLayout57.xml"/><Relationship Id="rId45" Type="http://schemas.openxmlformats.org/officeDocument/2006/relationships/slideLayout" Target="../slideLayouts/slideLayout62.xml"/><Relationship Id="rId53" Type="http://schemas.openxmlformats.org/officeDocument/2006/relationships/slideLayout" Target="../slideLayouts/slideLayout70.xml"/><Relationship Id="rId58" Type="http://schemas.openxmlformats.org/officeDocument/2006/relationships/slideLayout" Target="../slideLayouts/slideLayout75.xml"/><Relationship Id="rId66" Type="http://schemas.openxmlformats.org/officeDocument/2006/relationships/slideLayout" Target="../slideLayouts/slideLayout83.xml"/><Relationship Id="rId5" Type="http://schemas.openxmlformats.org/officeDocument/2006/relationships/slideLayout" Target="../slideLayouts/slideLayout22.xml"/><Relationship Id="rId61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35" Type="http://schemas.openxmlformats.org/officeDocument/2006/relationships/slideLayout" Target="../slideLayouts/slideLayout52.xml"/><Relationship Id="rId43" Type="http://schemas.openxmlformats.org/officeDocument/2006/relationships/slideLayout" Target="../slideLayouts/slideLayout60.xml"/><Relationship Id="rId48" Type="http://schemas.openxmlformats.org/officeDocument/2006/relationships/slideLayout" Target="../slideLayouts/slideLayout65.xml"/><Relationship Id="rId56" Type="http://schemas.openxmlformats.org/officeDocument/2006/relationships/slideLayout" Target="../slideLayouts/slideLayout73.xml"/><Relationship Id="rId64" Type="http://schemas.openxmlformats.org/officeDocument/2006/relationships/slideLayout" Target="../slideLayouts/slideLayout81.xml"/><Relationship Id="rId8" Type="http://schemas.openxmlformats.org/officeDocument/2006/relationships/slideLayout" Target="../slideLayouts/slideLayout25.xml"/><Relationship Id="rId51" Type="http://schemas.openxmlformats.org/officeDocument/2006/relationships/slideLayout" Target="../slideLayouts/slideLayout68.xml"/><Relationship Id="rId3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slideLayout" Target="../slideLayouts/slideLayout50.xml"/><Relationship Id="rId38" Type="http://schemas.openxmlformats.org/officeDocument/2006/relationships/slideLayout" Target="../slideLayouts/slideLayout55.xml"/><Relationship Id="rId46" Type="http://schemas.openxmlformats.org/officeDocument/2006/relationships/slideLayout" Target="../slideLayouts/slideLayout63.xml"/><Relationship Id="rId59" Type="http://schemas.openxmlformats.org/officeDocument/2006/relationships/slideLayout" Target="../slideLayouts/slideLayout76.xml"/><Relationship Id="rId67" Type="http://schemas.openxmlformats.org/officeDocument/2006/relationships/theme" Target="../theme/theme2.xml"/><Relationship Id="rId20" Type="http://schemas.openxmlformats.org/officeDocument/2006/relationships/slideLayout" Target="../slideLayouts/slideLayout37.xml"/><Relationship Id="rId41" Type="http://schemas.openxmlformats.org/officeDocument/2006/relationships/slideLayout" Target="../slideLayouts/slideLayout58.xml"/><Relationship Id="rId54" Type="http://schemas.openxmlformats.org/officeDocument/2006/relationships/slideLayout" Target="../slideLayouts/slideLayout71.xml"/><Relationship Id="rId6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36" Type="http://schemas.openxmlformats.org/officeDocument/2006/relationships/slideLayout" Target="../slideLayouts/slideLayout53.xml"/><Relationship Id="rId49" Type="http://schemas.openxmlformats.org/officeDocument/2006/relationships/slideLayout" Target="../slideLayouts/slideLayout66.xml"/><Relationship Id="rId57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48.xml"/><Relationship Id="rId44" Type="http://schemas.openxmlformats.org/officeDocument/2006/relationships/slideLayout" Target="../slideLayouts/slideLayout61.xml"/><Relationship Id="rId52" Type="http://schemas.openxmlformats.org/officeDocument/2006/relationships/slideLayout" Target="../slideLayouts/slideLayout69.xml"/><Relationship Id="rId60" Type="http://schemas.openxmlformats.org/officeDocument/2006/relationships/slideLayout" Target="../slideLayouts/slideLayout77.xml"/><Relationship Id="rId65" Type="http://schemas.openxmlformats.org/officeDocument/2006/relationships/slideLayout" Target="../slideLayouts/slideLayout82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39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C8D10CAF-54BB-FD49-BF23-4A16E57EC8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88929"/>
            <a:ext cx="10515600" cy="6037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s-ES_tradnl" dirty="0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8FB26E1-98BF-554B-A2E1-1998380734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990600"/>
            <a:ext cx="10515600" cy="53657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es-ES"/>
              <a:t>Editar los estilos de texto del patrón
Segundo nivel
Tercer nivel
Cuarto nivel
Quinto nivel</a:t>
            </a:r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219914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77" r:id="rId15"/>
    <p:sldLayoutId id="2147483693" r:id="rId16"/>
    <p:sldLayoutId id="2147483694" r:id="rId1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>
              <a:lumMod val="50000"/>
            </a:schemeClr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b="1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4400" y="279961"/>
            <a:ext cx="10363200" cy="817561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1219200"/>
            <a:ext cx="10363200" cy="46275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203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  <p:sldLayoutId id="2147483720" r:id="rId25"/>
    <p:sldLayoutId id="2147483721" r:id="rId26"/>
    <p:sldLayoutId id="2147483722" r:id="rId27"/>
    <p:sldLayoutId id="2147483723" r:id="rId28"/>
    <p:sldLayoutId id="2147483724" r:id="rId29"/>
    <p:sldLayoutId id="2147483725" r:id="rId30"/>
    <p:sldLayoutId id="2147483726" r:id="rId31"/>
    <p:sldLayoutId id="2147483727" r:id="rId32"/>
    <p:sldLayoutId id="2147483728" r:id="rId33"/>
    <p:sldLayoutId id="2147483729" r:id="rId34"/>
    <p:sldLayoutId id="2147483730" r:id="rId35"/>
    <p:sldLayoutId id="2147483731" r:id="rId36"/>
    <p:sldLayoutId id="2147483732" r:id="rId37"/>
    <p:sldLayoutId id="2147483733" r:id="rId38"/>
    <p:sldLayoutId id="2147483734" r:id="rId39"/>
    <p:sldLayoutId id="2147483735" r:id="rId40"/>
    <p:sldLayoutId id="2147483736" r:id="rId41"/>
    <p:sldLayoutId id="2147483737" r:id="rId42"/>
    <p:sldLayoutId id="2147483738" r:id="rId43"/>
    <p:sldLayoutId id="2147483739" r:id="rId44"/>
    <p:sldLayoutId id="2147483740" r:id="rId45"/>
    <p:sldLayoutId id="2147483741" r:id="rId46"/>
    <p:sldLayoutId id="2147483742" r:id="rId47"/>
    <p:sldLayoutId id="2147483743" r:id="rId48"/>
    <p:sldLayoutId id="2147483744" r:id="rId49"/>
    <p:sldLayoutId id="2147483745" r:id="rId50"/>
    <p:sldLayoutId id="2147483746" r:id="rId51"/>
    <p:sldLayoutId id="2147483747" r:id="rId52"/>
    <p:sldLayoutId id="2147483748" r:id="rId53"/>
    <p:sldLayoutId id="2147483749" r:id="rId54"/>
    <p:sldLayoutId id="2147483750" r:id="rId55"/>
    <p:sldLayoutId id="2147483751" r:id="rId56"/>
    <p:sldLayoutId id="2147483752" r:id="rId57"/>
    <p:sldLayoutId id="2147483753" r:id="rId58"/>
    <p:sldLayoutId id="2147483754" r:id="rId59"/>
    <p:sldLayoutId id="2147483755" r:id="rId60"/>
    <p:sldLayoutId id="2147483756" r:id="rId61"/>
    <p:sldLayoutId id="2147483757" r:id="rId62"/>
    <p:sldLayoutId id="2147483758" r:id="rId63"/>
    <p:sldLayoutId id="2147483759" r:id="rId64"/>
    <p:sldLayoutId id="2147483760" r:id="rId65"/>
    <p:sldLayoutId id="2147483761" r:id="rId66"/>
  </p:sldLayoutIdLst>
  <p:txStyles>
    <p:titleStyle>
      <a:lvl1pPr algn="ctr" defTabSz="1219170" rtl="0" eaLnBrk="1" latinLnBrk="0" hangingPunct="1">
        <a:lnSpc>
          <a:spcPct val="86000"/>
        </a:lnSpc>
        <a:spcBef>
          <a:spcPct val="0"/>
        </a:spcBef>
        <a:buNone/>
        <a:defRPr sz="2800" kern="800" spc="-53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2000" kern="800" spc="-13">
          <a:solidFill>
            <a:schemeClr val="tx1"/>
          </a:solidFill>
          <a:latin typeface="+mn-lt"/>
          <a:ea typeface="+mn-ea"/>
          <a:cs typeface="+mn-cs"/>
        </a:defRPr>
      </a:lvl1pPr>
      <a:lvl2pPr marL="459306" indent="-230712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2pPr>
      <a:lvl3pPr marL="687900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800">
          <a:solidFill>
            <a:schemeClr val="tx1"/>
          </a:solidFill>
          <a:latin typeface="+mn-lt"/>
          <a:ea typeface="+mn-ea"/>
          <a:cs typeface="+mn-cs"/>
        </a:defRPr>
      </a:lvl3pPr>
      <a:lvl4pPr marL="916494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600" kern="800">
          <a:solidFill>
            <a:schemeClr val="tx1"/>
          </a:solidFill>
          <a:latin typeface="+mn-lt"/>
          <a:ea typeface="+mn-ea"/>
          <a:cs typeface="+mn-cs"/>
        </a:defRPr>
      </a:lvl4pPr>
      <a:lvl5pPr marL="1145089" indent="-228594" algn="l" defTabSz="121917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600" kern="8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D6A1CCE-D7B7-E245-951F-C02078EA788B}"/>
              </a:ext>
            </a:extLst>
          </p:cNvPr>
          <p:cNvSpPr/>
          <p:nvPr/>
        </p:nvSpPr>
        <p:spPr>
          <a:xfrm rot="16200000">
            <a:off x="-2622557" y="3368006"/>
            <a:ext cx="6113548" cy="44626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s-CO" sz="2000" b="1" dirty="0">
                <a:solidFill>
                  <a:schemeClr val="accent1">
                    <a:lumMod val="50000"/>
                  </a:schemeClr>
                </a:solidFill>
              </a:rPr>
              <a:t>PROPUESTA DE VALOR </a:t>
            </a:r>
            <a:r>
              <a:rPr lang="es-CO" sz="2000" dirty="0">
                <a:solidFill>
                  <a:schemeClr val="accent1">
                    <a:lumMod val="75000"/>
                  </a:schemeClr>
                </a:solidFill>
              </a:rPr>
              <a:t>|</a:t>
            </a:r>
            <a:endParaRPr lang="es-CO" sz="2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Rectángulo redondeado 4"/>
          <p:cNvSpPr/>
          <p:nvPr/>
        </p:nvSpPr>
        <p:spPr>
          <a:xfrm rot="5400000">
            <a:off x="6698823" y="-3966526"/>
            <a:ext cx="415272" cy="9284120"/>
          </a:xfrm>
          <a:prstGeom prst="round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200" dirty="0">
                <a:solidFill>
                  <a:schemeClr val="accent6">
                    <a:lumMod val="75000"/>
                  </a:schemeClr>
                </a:solidFill>
              </a:rPr>
              <a:t>1. </a:t>
            </a:r>
            <a:r>
              <a:rPr lang="es-AR" sz="1200" dirty="0">
                <a:solidFill>
                  <a:schemeClr val="accent6">
                    <a:lumMod val="75000"/>
                  </a:schemeClr>
                </a:solidFill>
              </a:rPr>
              <a:t>Implementar un nuevo modelo de gobierno corporativo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1C1D7567-C67F-4D45-AA9C-BBF70CC8D268}"/>
              </a:ext>
            </a:extLst>
          </p:cNvPr>
          <p:cNvSpPr txBox="1"/>
          <p:nvPr/>
        </p:nvSpPr>
        <p:spPr>
          <a:xfrm rot="16200000">
            <a:off x="784210" y="1388812"/>
            <a:ext cx="13017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/>
              <a:t>SOSTENIBILIDAD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F1A9942-F38A-C54A-8A1C-809A40246243}"/>
              </a:ext>
            </a:extLst>
          </p:cNvPr>
          <p:cNvSpPr txBox="1"/>
          <p:nvPr/>
        </p:nvSpPr>
        <p:spPr>
          <a:xfrm rot="16200000">
            <a:off x="815895" y="2717371"/>
            <a:ext cx="12222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200" b="1" dirty="0"/>
              <a:t>PLANEAMIENTO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14850F9-C554-5B46-AA1C-A56DC9790707}"/>
              </a:ext>
            </a:extLst>
          </p:cNvPr>
          <p:cNvSpPr txBox="1"/>
          <p:nvPr/>
        </p:nvSpPr>
        <p:spPr>
          <a:xfrm rot="16200000">
            <a:off x="652709" y="6055266"/>
            <a:ext cx="15724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/>
              <a:t>INSTITUCIONAL</a:t>
            </a:r>
            <a:endParaRPr lang="es-CO" sz="1200" dirty="0"/>
          </a:p>
        </p:txBody>
      </p:sp>
      <p:cxnSp>
        <p:nvCxnSpPr>
          <p:cNvPr id="11" name="Conector recto 10"/>
          <p:cNvCxnSpPr/>
          <p:nvPr/>
        </p:nvCxnSpPr>
        <p:spPr>
          <a:xfrm>
            <a:off x="1122199" y="2149653"/>
            <a:ext cx="10614581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entágono 14">
            <a:extLst>
              <a:ext uri="{FF2B5EF4-FFF2-40B4-BE49-F238E27FC236}">
                <a16:creationId xmlns:a16="http://schemas.microsoft.com/office/drawing/2014/main" id="{F3145161-90A9-AE46-946D-D8CE1F0096D3}"/>
              </a:ext>
            </a:extLst>
          </p:cNvPr>
          <p:cNvSpPr/>
          <p:nvPr/>
        </p:nvSpPr>
        <p:spPr>
          <a:xfrm rot="16200000">
            <a:off x="1527103" y="1594566"/>
            <a:ext cx="603038" cy="228715"/>
          </a:xfrm>
          <a:prstGeom prst="homePlate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6" name="Cheurón 15">
            <a:extLst>
              <a:ext uri="{FF2B5EF4-FFF2-40B4-BE49-F238E27FC236}">
                <a16:creationId xmlns:a16="http://schemas.microsoft.com/office/drawing/2014/main" id="{14DC11E6-8DB3-6F4F-8E6C-6956482B5FF4}"/>
              </a:ext>
            </a:extLst>
          </p:cNvPr>
          <p:cNvSpPr/>
          <p:nvPr/>
        </p:nvSpPr>
        <p:spPr>
          <a:xfrm rot="16200000">
            <a:off x="1725626" y="1230943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17" name="Cheurón 16">
            <a:extLst>
              <a:ext uri="{FF2B5EF4-FFF2-40B4-BE49-F238E27FC236}">
                <a16:creationId xmlns:a16="http://schemas.microsoft.com/office/drawing/2014/main" id="{14DC11E6-8DB3-6F4F-8E6C-6956482B5FF4}"/>
              </a:ext>
            </a:extLst>
          </p:cNvPr>
          <p:cNvSpPr/>
          <p:nvPr/>
        </p:nvSpPr>
        <p:spPr>
          <a:xfrm rot="16200000">
            <a:off x="1725626" y="1065843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21" name="Cheurón 20">
            <a:extLst>
              <a:ext uri="{FF2B5EF4-FFF2-40B4-BE49-F238E27FC236}">
                <a16:creationId xmlns:a16="http://schemas.microsoft.com/office/drawing/2014/main" id="{14DC11E6-8DB3-6F4F-8E6C-6956482B5FF4}"/>
              </a:ext>
            </a:extLst>
          </p:cNvPr>
          <p:cNvSpPr/>
          <p:nvPr/>
        </p:nvSpPr>
        <p:spPr>
          <a:xfrm rot="16200000">
            <a:off x="1725510" y="1900153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25" name="Rectángulo redondeado 24"/>
          <p:cNvSpPr/>
          <p:nvPr/>
        </p:nvSpPr>
        <p:spPr>
          <a:xfrm rot="5400000">
            <a:off x="4060946" y="-638043"/>
            <a:ext cx="860807" cy="4453900"/>
          </a:xfrm>
          <a:prstGeom prst="roundRect">
            <a:avLst/>
          </a:prstGeom>
          <a:noFill/>
          <a:ln w="28575">
            <a:solidFill>
              <a:srgbClr val="00206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s-ES" sz="1200" dirty="0">
                <a:solidFill>
                  <a:srgbClr val="002060"/>
                </a:solidFill>
              </a:rPr>
              <a:t>2. Garantizar la sostenibilidad financiera</a:t>
            </a:r>
          </a:p>
          <a:p>
            <a:r>
              <a:rPr lang="es-ES" sz="1200" dirty="0">
                <a:solidFill>
                  <a:srgbClr val="002060"/>
                </a:solidFill>
              </a:rPr>
              <a:t>3. </a:t>
            </a:r>
            <a:r>
              <a:rPr lang="es-AR" sz="1200" dirty="0">
                <a:solidFill>
                  <a:srgbClr val="002060"/>
                </a:solidFill>
              </a:rPr>
              <a:t>Garantizar que la tarifa cubra el costo de servicio</a:t>
            </a:r>
            <a:endParaRPr lang="en-US" sz="1200" dirty="0"/>
          </a:p>
        </p:txBody>
      </p:sp>
      <p:sp>
        <p:nvSpPr>
          <p:cNvPr id="26" name="Rectángulo 25"/>
          <p:cNvSpPr/>
          <p:nvPr/>
        </p:nvSpPr>
        <p:spPr>
          <a:xfrm rot="5400000">
            <a:off x="4301303" y="-901669"/>
            <a:ext cx="301405" cy="3948392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>
                <a:solidFill>
                  <a:schemeClr val="bg1"/>
                </a:solidFill>
              </a:rPr>
              <a:t>SOSTENIBILIDAD FINANCIER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Cheurón 26">
            <a:extLst>
              <a:ext uri="{FF2B5EF4-FFF2-40B4-BE49-F238E27FC236}">
                <a16:creationId xmlns:a16="http://schemas.microsoft.com/office/drawing/2014/main" id="{14DC11E6-8DB3-6F4F-8E6C-6956482B5FF4}"/>
              </a:ext>
            </a:extLst>
          </p:cNvPr>
          <p:cNvSpPr/>
          <p:nvPr/>
        </p:nvSpPr>
        <p:spPr>
          <a:xfrm rot="16200000">
            <a:off x="1725626" y="900743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47" name="Rectángulo redondeado 46"/>
          <p:cNvSpPr/>
          <p:nvPr/>
        </p:nvSpPr>
        <p:spPr>
          <a:xfrm rot="5400000">
            <a:off x="8905998" y="-631692"/>
            <a:ext cx="860804" cy="4441200"/>
          </a:xfrm>
          <a:prstGeom prst="roundRect">
            <a:avLst/>
          </a:prstGeom>
          <a:noFill/>
          <a:ln w="28575">
            <a:solidFill>
              <a:schemeClr val="accent6">
                <a:lumMod val="50000"/>
                <a:alpha val="99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s-ES" sz="1200" dirty="0">
                <a:solidFill>
                  <a:schemeClr val="accent6">
                    <a:lumMod val="50000"/>
                  </a:schemeClr>
                </a:solidFill>
              </a:rPr>
              <a:t>4. </a:t>
            </a:r>
            <a:r>
              <a:rPr lang="es-AR" sz="1200" dirty="0">
                <a:solidFill>
                  <a:schemeClr val="accent6">
                    <a:lumMod val="50000"/>
                  </a:schemeClr>
                </a:solidFill>
              </a:rPr>
              <a:t>Garantizar la disposición eficiente de los vertimientos</a:t>
            </a:r>
          </a:p>
          <a:p>
            <a:r>
              <a:rPr lang="es-AR" sz="1200" dirty="0">
                <a:solidFill>
                  <a:schemeClr val="accent6">
                    <a:lumMod val="50000"/>
                  </a:schemeClr>
                </a:solidFill>
              </a:rPr>
              <a:t>5. Contribuir a la gestión integral del agua</a:t>
            </a:r>
            <a:endParaRPr lang="en-US" sz="1200" dirty="0"/>
          </a:p>
        </p:txBody>
      </p:sp>
      <p:sp>
        <p:nvSpPr>
          <p:cNvPr id="48" name="Rectángulo 47"/>
          <p:cNvSpPr/>
          <p:nvPr/>
        </p:nvSpPr>
        <p:spPr>
          <a:xfrm rot="5400000">
            <a:off x="9176868" y="-902656"/>
            <a:ext cx="301406" cy="394839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/>
              <a:t>SOSTENIBILIDAD AMBIENTAL</a:t>
            </a:r>
            <a:endParaRPr lang="en-US" sz="1600" b="1" dirty="0"/>
          </a:p>
        </p:txBody>
      </p:sp>
      <p:sp>
        <p:nvSpPr>
          <p:cNvPr id="49" name="Rectángulo redondeado 48"/>
          <p:cNvSpPr/>
          <p:nvPr/>
        </p:nvSpPr>
        <p:spPr>
          <a:xfrm rot="5400000">
            <a:off x="4076256" y="803373"/>
            <a:ext cx="948752" cy="4453900"/>
          </a:xfrm>
          <a:prstGeom prst="roundRect">
            <a:avLst/>
          </a:prstGeom>
          <a:noFill/>
          <a:ln w="2857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s-ES" sz="1200" dirty="0">
                <a:solidFill>
                  <a:srgbClr val="0070C0"/>
                </a:solidFill>
              </a:rPr>
              <a:t>6. </a:t>
            </a:r>
            <a:r>
              <a:rPr lang="es-AR" sz="1200" dirty="0">
                <a:solidFill>
                  <a:srgbClr val="0070C0"/>
                </a:solidFill>
              </a:rPr>
              <a:t>Planear y desarrollar inversiones e iniciativas con viabilidad técnica, financiera y económica</a:t>
            </a:r>
            <a:endParaRPr lang="en-US" sz="1600" dirty="0"/>
          </a:p>
        </p:txBody>
      </p:sp>
      <p:sp>
        <p:nvSpPr>
          <p:cNvPr id="50" name="Rectángulo 49"/>
          <p:cNvSpPr/>
          <p:nvPr/>
        </p:nvSpPr>
        <p:spPr>
          <a:xfrm rot="5400000">
            <a:off x="4296531" y="431049"/>
            <a:ext cx="310947" cy="3948392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/>
              <a:t>EFICIENCIA EN LA </a:t>
            </a:r>
            <a:r>
              <a:rPr lang="es-ES" sz="1600" b="1" dirty="0">
                <a:solidFill>
                  <a:schemeClr val="bg1"/>
                </a:solidFill>
              </a:rPr>
              <a:t>PLANEACIÓN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1" name="Rectángulo redondeado 50"/>
          <p:cNvSpPr/>
          <p:nvPr/>
        </p:nvSpPr>
        <p:spPr>
          <a:xfrm rot="5400000">
            <a:off x="8628531" y="2456741"/>
            <a:ext cx="1415738" cy="4441200"/>
          </a:xfrm>
          <a:prstGeom prst="roundRect">
            <a:avLst/>
          </a:prstGeom>
          <a:noFill/>
          <a:ln w="28575">
            <a:solidFill>
              <a:srgbClr val="7030A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s-ES" sz="1200" dirty="0">
                <a:solidFill>
                  <a:srgbClr val="7030A0"/>
                </a:solidFill>
              </a:rPr>
              <a:t>14. </a:t>
            </a:r>
            <a:r>
              <a:rPr lang="es-AR" sz="1200" dirty="0">
                <a:solidFill>
                  <a:srgbClr val="7030A0"/>
                </a:solidFill>
              </a:rPr>
              <a:t>Proveer un servicio continuo y seguro</a:t>
            </a:r>
          </a:p>
          <a:p>
            <a:r>
              <a:rPr lang="es-ES" sz="1200" dirty="0">
                <a:solidFill>
                  <a:srgbClr val="7030A0"/>
                </a:solidFill>
              </a:rPr>
              <a:t>15.</a:t>
            </a:r>
            <a:r>
              <a:rPr lang="es-AR" sz="1200" dirty="0">
                <a:solidFill>
                  <a:srgbClr val="7030A0"/>
                </a:solidFill>
              </a:rPr>
              <a:t> Asegurar el servicio de recolección de aguas residuales</a:t>
            </a:r>
          </a:p>
          <a:p>
            <a:r>
              <a:rPr lang="es-ES" sz="1200" dirty="0">
                <a:solidFill>
                  <a:srgbClr val="7030A0"/>
                </a:solidFill>
              </a:rPr>
              <a:t>16. </a:t>
            </a:r>
            <a:r>
              <a:rPr lang="es-AR" sz="1200" dirty="0">
                <a:solidFill>
                  <a:srgbClr val="7030A0"/>
                </a:solidFill>
              </a:rPr>
              <a:t>Asegurar la gestión del cliente</a:t>
            </a:r>
            <a:endParaRPr lang="en-US" sz="1200" dirty="0">
              <a:solidFill>
                <a:srgbClr val="7030A0"/>
              </a:solidFill>
            </a:endParaRPr>
          </a:p>
        </p:txBody>
      </p:sp>
      <p:sp>
        <p:nvSpPr>
          <p:cNvPr id="52" name="Rectángulo 51"/>
          <p:cNvSpPr/>
          <p:nvPr/>
        </p:nvSpPr>
        <p:spPr>
          <a:xfrm rot="5400000">
            <a:off x="9173333" y="1888940"/>
            <a:ext cx="310943" cy="3948392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>
                <a:solidFill>
                  <a:schemeClr val="bg1"/>
                </a:solidFill>
              </a:rPr>
              <a:t>CALIDAD DE SERVICIO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3" name="Rectángulo redondeado 52"/>
          <p:cNvSpPr/>
          <p:nvPr/>
        </p:nvSpPr>
        <p:spPr>
          <a:xfrm rot="5400000">
            <a:off x="3805474" y="2454781"/>
            <a:ext cx="1451577" cy="4453900"/>
          </a:xfrm>
          <a:prstGeom prst="roundRect">
            <a:avLst/>
          </a:prstGeom>
          <a:noFill/>
          <a:ln w="2857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s-ES" sz="1050" dirty="0">
                <a:solidFill>
                  <a:schemeClr val="accent2"/>
                </a:solidFill>
              </a:rPr>
              <a:t>9. Desarrollar procesos eficientes</a:t>
            </a:r>
          </a:p>
          <a:p>
            <a:r>
              <a:rPr lang="es-ES" sz="1050" dirty="0">
                <a:solidFill>
                  <a:schemeClr val="accent2"/>
                </a:solidFill>
              </a:rPr>
              <a:t>10. </a:t>
            </a:r>
            <a:r>
              <a:rPr lang="es-AR" sz="1050" dirty="0">
                <a:solidFill>
                  <a:schemeClr val="accent2"/>
                </a:solidFill>
              </a:rPr>
              <a:t>Alcanzar un nivel eficiente de pérdidas de agua</a:t>
            </a:r>
          </a:p>
          <a:p>
            <a:r>
              <a:rPr lang="es-AR" sz="1050" dirty="0">
                <a:solidFill>
                  <a:schemeClr val="accent2"/>
                </a:solidFill>
              </a:rPr>
              <a:t>11. Optimizar la infraestructura de acueducto y alcantarillado</a:t>
            </a:r>
          </a:p>
          <a:p>
            <a:r>
              <a:rPr lang="es-AR" sz="1050" dirty="0">
                <a:solidFill>
                  <a:schemeClr val="accent2"/>
                </a:solidFill>
              </a:rPr>
              <a:t>12. Optimizar la cobranza y la gestión comercial</a:t>
            </a:r>
          </a:p>
          <a:p>
            <a:r>
              <a:rPr lang="es-AR" sz="1050" dirty="0">
                <a:solidFill>
                  <a:schemeClr val="accent2"/>
                </a:solidFill>
              </a:rPr>
              <a:t>13. Optimizar la eficiencia energética</a:t>
            </a:r>
            <a:endParaRPr lang="en-US" sz="1200" dirty="0">
              <a:solidFill>
                <a:schemeClr val="accent2"/>
              </a:solidFill>
            </a:endParaRPr>
          </a:p>
        </p:txBody>
      </p:sp>
      <p:sp>
        <p:nvSpPr>
          <p:cNvPr id="54" name="Rectángulo 53"/>
          <p:cNvSpPr/>
          <p:nvPr/>
        </p:nvSpPr>
        <p:spPr>
          <a:xfrm rot="5400000">
            <a:off x="4359848" y="1922247"/>
            <a:ext cx="264139" cy="394839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>
                <a:solidFill>
                  <a:schemeClr val="bg1"/>
                </a:solidFill>
              </a:rPr>
              <a:t>EFICIENCIA EN LA OPERACIÓN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5" name="Rectángulo redondeado 54"/>
          <p:cNvSpPr/>
          <p:nvPr/>
        </p:nvSpPr>
        <p:spPr>
          <a:xfrm rot="5400000">
            <a:off x="8869596" y="824082"/>
            <a:ext cx="960821" cy="4413987"/>
          </a:xfrm>
          <a:prstGeom prst="roundRect">
            <a:avLst/>
          </a:prstGeom>
          <a:noFill/>
          <a:ln w="28575">
            <a:solidFill>
              <a:schemeClr val="accent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200" dirty="0">
                <a:solidFill>
                  <a:schemeClr val="accent2">
                    <a:lumMod val="50000"/>
                  </a:schemeClr>
                </a:solidFill>
              </a:rPr>
              <a:t>7.</a:t>
            </a:r>
            <a:r>
              <a:rPr lang="es-AR" sz="1200" dirty="0">
                <a:solidFill>
                  <a:schemeClr val="accent2">
                    <a:lumMod val="50000"/>
                  </a:schemeClr>
                </a:solidFill>
              </a:rPr>
              <a:t> Garantizar el acceso al servicio de acueducto</a:t>
            </a:r>
          </a:p>
          <a:p>
            <a:pPr algn="ctr"/>
            <a:r>
              <a:rPr lang="es-AR" sz="1200" dirty="0">
                <a:solidFill>
                  <a:schemeClr val="accent2">
                    <a:lumMod val="50000"/>
                  </a:schemeClr>
                </a:solidFill>
              </a:rPr>
              <a:t>8. Garantizar el acceso al servicio de alcantarillado</a:t>
            </a:r>
            <a:endParaRPr lang="en-US" sz="12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6" name="Rectángulo 55"/>
          <p:cNvSpPr/>
          <p:nvPr/>
        </p:nvSpPr>
        <p:spPr>
          <a:xfrm rot="5400000">
            <a:off x="9203959" y="451672"/>
            <a:ext cx="292093" cy="3948392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>
                <a:solidFill>
                  <a:schemeClr val="bg1"/>
                </a:solidFill>
              </a:rPr>
              <a:t>ACCESO AL SERVICIO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57" name="Conector recto 56"/>
          <p:cNvCxnSpPr/>
          <p:nvPr/>
        </p:nvCxnSpPr>
        <p:spPr>
          <a:xfrm>
            <a:off x="1044100" y="5494602"/>
            <a:ext cx="10614581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ángulo redondeado 57"/>
          <p:cNvSpPr/>
          <p:nvPr/>
        </p:nvSpPr>
        <p:spPr>
          <a:xfrm rot="5400000">
            <a:off x="6458338" y="1668960"/>
            <a:ext cx="955523" cy="9241800"/>
          </a:xfrm>
          <a:prstGeom prst="roundRect">
            <a:avLst/>
          </a:prstGeom>
          <a:noFill/>
          <a:ln w="28575">
            <a:solidFill>
              <a:srgbClr val="55B0E7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s-ES" sz="1200" dirty="0">
                <a:solidFill>
                  <a:schemeClr val="accent1">
                    <a:lumMod val="75000"/>
                  </a:schemeClr>
                </a:solidFill>
              </a:rPr>
              <a:t>17.</a:t>
            </a:r>
            <a:r>
              <a:rPr lang="es-AR" sz="1200" dirty="0">
                <a:solidFill>
                  <a:schemeClr val="accent1">
                    <a:lumMod val="75000"/>
                  </a:schemeClr>
                </a:solidFill>
              </a:rPr>
              <a:t> Contar con recursos humanos capacitados, y con una compensación competitiva y basada en el desempeño</a:t>
            </a:r>
          </a:p>
          <a:p>
            <a:r>
              <a:rPr lang="es-AR" sz="1200" dirty="0">
                <a:solidFill>
                  <a:schemeClr val="accent1">
                    <a:lumMod val="75000"/>
                  </a:schemeClr>
                </a:solidFill>
              </a:rPr>
              <a:t>18. Desarrollar una cultura corporativa orientada a generar valor y confianza en el cliente</a:t>
            </a:r>
            <a:endParaRPr lang="en-US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9" name="Rectángulo 58"/>
          <p:cNvSpPr/>
          <p:nvPr/>
        </p:nvSpPr>
        <p:spPr>
          <a:xfrm rot="5400000">
            <a:off x="6783751" y="1664873"/>
            <a:ext cx="264888" cy="814017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55B0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>
                <a:solidFill>
                  <a:schemeClr val="bg1"/>
                </a:solidFill>
              </a:rPr>
              <a:t>EFICIENCIA EN LA GESTIÓN EMPRESARIAL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7" name="CuadroTexto 66"/>
          <p:cNvSpPr txBox="1"/>
          <p:nvPr/>
        </p:nvSpPr>
        <p:spPr>
          <a:xfrm rot="16200000">
            <a:off x="-1108502" y="1740715"/>
            <a:ext cx="30688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dirty="0"/>
              <a:t>Gestión integral y eficiente  con aporte a la vida y la salud de la población.</a:t>
            </a:r>
            <a:endParaRPr lang="es-CO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71D7FFD8-653A-5179-84D7-7EF7D967DAAA}"/>
              </a:ext>
            </a:extLst>
          </p:cNvPr>
          <p:cNvSpPr txBox="1"/>
          <p:nvPr/>
        </p:nvSpPr>
        <p:spPr>
          <a:xfrm rot="16200000">
            <a:off x="1051151" y="4402768"/>
            <a:ext cx="7517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200" b="1" dirty="0"/>
              <a:t>CALIDAD</a:t>
            </a:r>
          </a:p>
        </p:txBody>
      </p:sp>
      <p:sp>
        <p:nvSpPr>
          <p:cNvPr id="69" name="Pentágono 14">
            <a:extLst>
              <a:ext uri="{FF2B5EF4-FFF2-40B4-BE49-F238E27FC236}">
                <a16:creationId xmlns:a16="http://schemas.microsoft.com/office/drawing/2014/main" id="{788239D0-17C5-552F-B8AF-44F7E73896DA}"/>
              </a:ext>
            </a:extLst>
          </p:cNvPr>
          <p:cNvSpPr/>
          <p:nvPr/>
        </p:nvSpPr>
        <p:spPr>
          <a:xfrm rot="16200000">
            <a:off x="1521717" y="3019027"/>
            <a:ext cx="603038" cy="228715"/>
          </a:xfrm>
          <a:prstGeom prst="homePlate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70" name="Cheurón 15">
            <a:extLst>
              <a:ext uri="{FF2B5EF4-FFF2-40B4-BE49-F238E27FC236}">
                <a16:creationId xmlns:a16="http://schemas.microsoft.com/office/drawing/2014/main" id="{DED95E53-D40F-8A7B-6A2E-3D9C8F38422E}"/>
              </a:ext>
            </a:extLst>
          </p:cNvPr>
          <p:cNvSpPr/>
          <p:nvPr/>
        </p:nvSpPr>
        <p:spPr>
          <a:xfrm rot="16200000">
            <a:off x="1720240" y="2655404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1" name="Cheurón 16">
            <a:extLst>
              <a:ext uri="{FF2B5EF4-FFF2-40B4-BE49-F238E27FC236}">
                <a16:creationId xmlns:a16="http://schemas.microsoft.com/office/drawing/2014/main" id="{E4B649FF-2A12-1530-7386-9C0CF467B60F}"/>
              </a:ext>
            </a:extLst>
          </p:cNvPr>
          <p:cNvSpPr/>
          <p:nvPr/>
        </p:nvSpPr>
        <p:spPr>
          <a:xfrm rot="16200000">
            <a:off x="1720240" y="2490304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2" name="Cheurón 20">
            <a:extLst>
              <a:ext uri="{FF2B5EF4-FFF2-40B4-BE49-F238E27FC236}">
                <a16:creationId xmlns:a16="http://schemas.microsoft.com/office/drawing/2014/main" id="{E9E50B78-0B72-BF9F-81C4-88077DF295AD}"/>
              </a:ext>
            </a:extLst>
          </p:cNvPr>
          <p:cNvSpPr/>
          <p:nvPr/>
        </p:nvSpPr>
        <p:spPr>
          <a:xfrm rot="16200000">
            <a:off x="1720124" y="3324614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3" name="Cheurón 26">
            <a:extLst>
              <a:ext uri="{FF2B5EF4-FFF2-40B4-BE49-F238E27FC236}">
                <a16:creationId xmlns:a16="http://schemas.microsoft.com/office/drawing/2014/main" id="{EDD21FEB-3649-FB96-2117-94871B127146}"/>
              </a:ext>
            </a:extLst>
          </p:cNvPr>
          <p:cNvSpPr/>
          <p:nvPr/>
        </p:nvSpPr>
        <p:spPr>
          <a:xfrm rot="16200000">
            <a:off x="1720240" y="2325204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4" name="Pentágono 14">
            <a:extLst>
              <a:ext uri="{FF2B5EF4-FFF2-40B4-BE49-F238E27FC236}">
                <a16:creationId xmlns:a16="http://schemas.microsoft.com/office/drawing/2014/main" id="{4DD5D301-8BF3-0293-1CB8-D26CB631878D}"/>
              </a:ext>
            </a:extLst>
          </p:cNvPr>
          <p:cNvSpPr/>
          <p:nvPr/>
        </p:nvSpPr>
        <p:spPr>
          <a:xfrm rot="16200000">
            <a:off x="1521601" y="4655295"/>
            <a:ext cx="603038" cy="228715"/>
          </a:xfrm>
          <a:prstGeom prst="homePlate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75" name="Cheurón 15">
            <a:extLst>
              <a:ext uri="{FF2B5EF4-FFF2-40B4-BE49-F238E27FC236}">
                <a16:creationId xmlns:a16="http://schemas.microsoft.com/office/drawing/2014/main" id="{F7D470F0-4844-9DBB-AB4A-9BC36E967CAC}"/>
              </a:ext>
            </a:extLst>
          </p:cNvPr>
          <p:cNvSpPr/>
          <p:nvPr/>
        </p:nvSpPr>
        <p:spPr>
          <a:xfrm rot="16200000">
            <a:off x="1720124" y="4291672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6" name="Cheurón 16">
            <a:extLst>
              <a:ext uri="{FF2B5EF4-FFF2-40B4-BE49-F238E27FC236}">
                <a16:creationId xmlns:a16="http://schemas.microsoft.com/office/drawing/2014/main" id="{752ED196-E544-90B4-A2D6-8A8EFF0133D4}"/>
              </a:ext>
            </a:extLst>
          </p:cNvPr>
          <p:cNvSpPr/>
          <p:nvPr/>
        </p:nvSpPr>
        <p:spPr>
          <a:xfrm rot="16200000">
            <a:off x="1720124" y="4126572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7" name="Cheurón 20">
            <a:extLst>
              <a:ext uri="{FF2B5EF4-FFF2-40B4-BE49-F238E27FC236}">
                <a16:creationId xmlns:a16="http://schemas.microsoft.com/office/drawing/2014/main" id="{DABD0602-E46D-557D-0500-43ED7B6C64AA}"/>
              </a:ext>
            </a:extLst>
          </p:cNvPr>
          <p:cNvSpPr/>
          <p:nvPr/>
        </p:nvSpPr>
        <p:spPr>
          <a:xfrm rot="16200000">
            <a:off x="1720008" y="4960882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8" name="Cheurón 26">
            <a:extLst>
              <a:ext uri="{FF2B5EF4-FFF2-40B4-BE49-F238E27FC236}">
                <a16:creationId xmlns:a16="http://schemas.microsoft.com/office/drawing/2014/main" id="{F4DCC2EA-2370-6851-ACE5-604FEE522560}"/>
              </a:ext>
            </a:extLst>
          </p:cNvPr>
          <p:cNvSpPr/>
          <p:nvPr/>
        </p:nvSpPr>
        <p:spPr>
          <a:xfrm rot="16200000">
            <a:off x="1720124" y="3961472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cxnSp>
        <p:nvCxnSpPr>
          <p:cNvPr id="79" name="Conector recto 78">
            <a:extLst>
              <a:ext uri="{FF2B5EF4-FFF2-40B4-BE49-F238E27FC236}">
                <a16:creationId xmlns:a16="http://schemas.microsoft.com/office/drawing/2014/main" id="{1341375D-E566-EC6F-5A2E-AEAE946962FC}"/>
              </a:ext>
            </a:extLst>
          </p:cNvPr>
          <p:cNvCxnSpPr/>
          <p:nvPr/>
        </p:nvCxnSpPr>
        <p:spPr>
          <a:xfrm>
            <a:off x="1094985" y="3655113"/>
            <a:ext cx="10614581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Pentágono 14">
            <a:extLst>
              <a:ext uri="{FF2B5EF4-FFF2-40B4-BE49-F238E27FC236}">
                <a16:creationId xmlns:a16="http://schemas.microsoft.com/office/drawing/2014/main" id="{19E5C194-6889-2311-791F-64353AE4CB17}"/>
              </a:ext>
            </a:extLst>
          </p:cNvPr>
          <p:cNvSpPr/>
          <p:nvPr/>
        </p:nvSpPr>
        <p:spPr>
          <a:xfrm rot="16200000">
            <a:off x="1527105" y="6244680"/>
            <a:ext cx="603038" cy="228715"/>
          </a:xfrm>
          <a:prstGeom prst="homePlate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1" name="Cheurón 15">
            <a:extLst>
              <a:ext uri="{FF2B5EF4-FFF2-40B4-BE49-F238E27FC236}">
                <a16:creationId xmlns:a16="http://schemas.microsoft.com/office/drawing/2014/main" id="{72601F72-28DA-E26B-B447-FDB740AB7309}"/>
              </a:ext>
            </a:extLst>
          </p:cNvPr>
          <p:cNvSpPr/>
          <p:nvPr/>
        </p:nvSpPr>
        <p:spPr>
          <a:xfrm rot="16200000">
            <a:off x="1725628" y="5881057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82" name="Cheurón 16">
            <a:extLst>
              <a:ext uri="{FF2B5EF4-FFF2-40B4-BE49-F238E27FC236}">
                <a16:creationId xmlns:a16="http://schemas.microsoft.com/office/drawing/2014/main" id="{FE8914CD-73BF-F1F9-3CE8-56C11A38392F}"/>
              </a:ext>
            </a:extLst>
          </p:cNvPr>
          <p:cNvSpPr/>
          <p:nvPr/>
        </p:nvSpPr>
        <p:spPr>
          <a:xfrm rot="16200000">
            <a:off x="1725628" y="5715957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83" name="Cheurón 20">
            <a:extLst>
              <a:ext uri="{FF2B5EF4-FFF2-40B4-BE49-F238E27FC236}">
                <a16:creationId xmlns:a16="http://schemas.microsoft.com/office/drawing/2014/main" id="{E093C2D5-BFB4-B4C9-A62A-5C5C5EA21BCD}"/>
              </a:ext>
            </a:extLst>
          </p:cNvPr>
          <p:cNvSpPr/>
          <p:nvPr/>
        </p:nvSpPr>
        <p:spPr>
          <a:xfrm rot="16200000">
            <a:off x="1725512" y="6550267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84" name="Cheurón 26">
            <a:extLst>
              <a:ext uri="{FF2B5EF4-FFF2-40B4-BE49-F238E27FC236}">
                <a16:creationId xmlns:a16="http://schemas.microsoft.com/office/drawing/2014/main" id="{3AAA4CCC-D816-C118-F1DB-5B567617E7B4}"/>
              </a:ext>
            </a:extLst>
          </p:cNvPr>
          <p:cNvSpPr/>
          <p:nvPr/>
        </p:nvSpPr>
        <p:spPr>
          <a:xfrm rot="16200000">
            <a:off x="1725628" y="5550857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0E797A07-EAC2-493A-ADFB-B287C3DE4145}"/>
              </a:ext>
            </a:extLst>
          </p:cNvPr>
          <p:cNvSpPr/>
          <p:nvPr/>
        </p:nvSpPr>
        <p:spPr>
          <a:xfrm rot="5400000">
            <a:off x="1416279" y="52716"/>
            <a:ext cx="298488" cy="1227510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PERSPECTIVA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Triángulo isósceles 1">
            <a:extLst>
              <a:ext uri="{FF2B5EF4-FFF2-40B4-BE49-F238E27FC236}">
                <a16:creationId xmlns:a16="http://schemas.microsoft.com/office/drawing/2014/main" id="{EAC442E2-7AEB-43B0-AF69-B256F31A9C0D}"/>
              </a:ext>
            </a:extLst>
          </p:cNvPr>
          <p:cNvSpPr/>
          <p:nvPr/>
        </p:nvSpPr>
        <p:spPr>
          <a:xfrm>
            <a:off x="2315200" y="-258783"/>
            <a:ext cx="9233317" cy="726681"/>
          </a:xfrm>
          <a:prstGeom prst="triangle">
            <a:avLst>
              <a:gd name="adj" fmla="val 49681"/>
            </a:avLst>
          </a:prstGeom>
          <a:solidFill>
            <a:srgbClr val="9CCA7C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s-ES" sz="1600" b="1" dirty="0"/>
              <a:t>GOBIERNO CORPORATIVO</a:t>
            </a:r>
            <a:endParaRPr lang="es-PE" sz="1600" b="1" dirty="0"/>
          </a:p>
        </p:txBody>
      </p:sp>
    </p:spTree>
    <p:extLst>
      <p:ext uri="{BB962C8B-B14F-4D97-AF65-F5344CB8AC3E}">
        <p14:creationId xmlns:p14="http://schemas.microsoft.com/office/powerpoint/2010/main" val="770905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redondeado 3">
            <a:extLst>
              <a:ext uri="{FF2B5EF4-FFF2-40B4-BE49-F238E27FC236}">
                <a16:creationId xmlns:a16="http://schemas.microsoft.com/office/drawing/2014/main" id="{9D6A1CCE-D7B7-E245-951F-C02078EA788B}"/>
              </a:ext>
            </a:extLst>
          </p:cNvPr>
          <p:cNvSpPr/>
          <p:nvPr/>
        </p:nvSpPr>
        <p:spPr>
          <a:xfrm rot="16200000">
            <a:off x="-2622557" y="3368006"/>
            <a:ext cx="6113548" cy="44626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/>
            <a:r>
              <a:rPr lang="es-CO" sz="2000" b="1" dirty="0">
                <a:solidFill>
                  <a:schemeClr val="accent1">
                    <a:lumMod val="50000"/>
                  </a:schemeClr>
                </a:solidFill>
              </a:rPr>
              <a:t>PROPUESTA DE VALOR </a:t>
            </a:r>
            <a:r>
              <a:rPr lang="es-CO" sz="2000" dirty="0">
                <a:solidFill>
                  <a:schemeClr val="accent1">
                    <a:lumMod val="75000"/>
                  </a:schemeClr>
                </a:solidFill>
              </a:rPr>
              <a:t>|</a:t>
            </a:r>
            <a:endParaRPr lang="es-CO" sz="20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Rectángulo redondeado 4"/>
          <p:cNvSpPr/>
          <p:nvPr/>
        </p:nvSpPr>
        <p:spPr>
          <a:xfrm rot="5400000">
            <a:off x="6698823" y="-3966526"/>
            <a:ext cx="415272" cy="9284120"/>
          </a:xfrm>
          <a:prstGeom prst="round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200" dirty="0">
                <a:solidFill>
                  <a:schemeClr val="accent6">
                    <a:lumMod val="75000"/>
                  </a:schemeClr>
                </a:solidFill>
              </a:rPr>
              <a:t>1.1. </a:t>
            </a:r>
            <a:r>
              <a:rPr lang="es-AR" sz="1200" dirty="0">
                <a:solidFill>
                  <a:schemeClr val="accent6">
                    <a:lumMod val="75000"/>
                  </a:schemeClr>
                </a:solidFill>
              </a:rPr>
              <a:t>Avance en la implementación del nuevo modelo de gobierno corporativo (cualitativo)</a:t>
            </a:r>
          </a:p>
          <a:p>
            <a:pPr algn="ctr"/>
            <a:r>
              <a:rPr lang="es-AR" sz="1200" dirty="0">
                <a:solidFill>
                  <a:schemeClr val="accent6">
                    <a:lumMod val="75000"/>
                  </a:schemeClr>
                </a:solidFill>
              </a:rPr>
              <a:t>1.2. EVA (COP millones)                1.3. Cambio del EVA (%)</a:t>
            </a:r>
            <a:endParaRPr lang="en-US" sz="16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1C1D7567-C67F-4D45-AA9C-BBF70CC8D268}"/>
              </a:ext>
            </a:extLst>
          </p:cNvPr>
          <p:cNvSpPr txBox="1"/>
          <p:nvPr/>
        </p:nvSpPr>
        <p:spPr>
          <a:xfrm rot="16200000">
            <a:off x="784210" y="1388812"/>
            <a:ext cx="13017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/>
              <a:t>SOSTENIBILIDAD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F1A9942-F38A-C54A-8A1C-809A40246243}"/>
              </a:ext>
            </a:extLst>
          </p:cNvPr>
          <p:cNvSpPr txBox="1"/>
          <p:nvPr/>
        </p:nvSpPr>
        <p:spPr>
          <a:xfrm rot="16200000">
            <a:off x="815895" y="2717371"/>
            <a:ext cx="12222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200" b="1" dirty="0"/>
              <a:t>PLANEAMIENTO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114850F9-C554-5B46-AA1C-A56DC9790707}"/>
              </a:ext>
            </a:extLst>
          </p:cNvPr>
          <p:cNvSpPr txBox="1"/>
          <p:nvPr/>
        </p:nvSpPr>
        <p:spPr>
          <a:xfrm rot="16200000">
            <a:off x="652709" y="6055266"/>
            <a:ext cx="15724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b="1" dirty="0"/>
              <a:t>INSTITUCIONAL</a:t>
            </a:r>
            <a:endParaRPr lang="es-CO" sz="1200" dirty="0"/>
          </a:p>
        </p:txBody>
      </p:sp>
      <p:cxnSp>
        <p:nvCxnSpPr>
          <p:cNvPr id="11" name="Conector recto 10"/>
          <p:cNvCxnSpPr/>
          <p:nvPr/>
        </p:nvCxnSpPr>
        <p:spPr>
          <a:xfrm>
            <a:off x="1122199" y="2149653"/>
            <a:ext cx="10614581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entágono 14">
            <a:extLst>
              <a:ext uri="{FF2B5EF4-FFF2-40B4-BE49-F238E27FC236}">
                <a16:creationId xmlns:a16="http://schemas.microsoft.com/office/drawing/2014/main" id="{F3145161-90A9-AE46-946D-D8CE1F0096D3}"/>
              </a:ext>
            </a:extLst>
          </p:cNvPr>
          <p:cNvSpPr/>
          <p:nvPr/>
        </p:nvSpPr>
        <p:spPr>
          <a:xfrm rot="16200000">
            <a:off x="1527103" y="1594566"/>
            <a:ext cx="603038" cy="228715"/>
          </a:xfrm>
          <a:prstGeom prst="homePlate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16" name="Cheurón 15">
            <a:extLst>
              <a:ext uri="{FF2B5EF4-FFF2-40B4-BE49-F238E27FC236}">
                <a16:creationId xmlns:a16="http://schemas.microsoft.com/office/drawing/2014/main" id="{14DC11E6-8DB3-6F4F-8E6C-6956482B5FF4}"/>
              </a:ext>
            </a:extLst>
          </p:cNvPr>
          <p:cNvSpPr/>
          <p:nvPr/>
        </p:nvSpPr>
        <p:spPr>
          <a:xfrm rot="16200000">
            <a:off x="1725626" y="1230943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17" name="Cheurón 16">
            <a:extLst>
              <a:ext uri="{FF2B5EF4-FFF2-40B4-BE49-F238E27FC236}">
                <a16:creationId xmlns:a16="http://schemas.microsoft.com/office/drawing/2014/main" id="{14DC11E6-8DB3-6F4F-8E6C-6956482B5FF4}"/>
              </a:ext>
            </a:extLst>
          </p:cNvPr>
          <p:cNvSpPr/>
          <p:nvPr/>
        </p:nvSpPr>
        <p:spPr>
          <a:xfrm rot="16200000">
            <a:off x="1725626" y="1065843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21" name="Cheurón 20">
            <a:extLst>
              <a:ext uri="{FF2B5EF4-FFF2-40B4-BE49-F238E27FC236}">
                <a16:creationId xmlns:a16="http://schemas.microsoft.com/office/drawing/2014/main" id="{14DC11E6-8DB3-6F4F-8E6C-6956482B5FF4}"/>
              </a:ext>
            </a:extLst>
          </p:cNvPr>
          <p:cNvSpPr/>
          <p:nvPr/>
        </p:nvSpPr>
        <p:spPr>
          <a:xfrm rot="16200000">
            <a:off x="1725510" y="1900153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25" name="Rectángulo redondeado 24"/>
          <p:cNvSpPr/>
          <p:nvPr/>
        </p:nvSpPr>
        <p:spPr>
          <a:xfrm rot="5400000">
            <a:off x="4060946" y="-638043"/>
            <a:ext cx="860807" cy="4453900"/>
          </a:xfrm>
          <a:prstGeom prst="roundRect">
            <a:avLst/>
          </a:prstGeom>
          <a:noFill/>
          <a:ln w="28575">
            <a:solidFill>
              <a:srgbClr val="00206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s-ES" sz="1200" dirty="0">
                <a:solidFill>
                  <a:srgbClr val="002060"/>
                </a:solidFill>
              </a:rPr>
              <a:t>2.1. Margen EBITDA (%)</a:t>
            </a:r>
            <a:r>
              <a:rPr lang="es-ES" sz="1200" b="1" dirty="0">
                <a:solidFill>
                  <a:srgbClr val="002060"/>
                </a:solidFill>
              </a:rPr>
              <a:t>|</a:t>
            </a:r>
            <a:r>
              <a:rPr lang="es-ES" sz="1200" dirty="0">
                <a:solidFill>
                  <a:srgbClr val="002060"/>
                </a:solidFill>
              </a:rPr>
              <a:t>   2.2. Margen de utilidad neta (%)</a:t>
            </a:r>
          </a:p>
          <a:p>
            <a:r>
              <a:rPr lang="es-ES" sz="1200" dirty="0">
                <a:solidFill>
                  <a:srgbClr val="002060"/>
                </a:solidFill>
              </a:rPr>
              <a:t>3.1. Rotación de Cartera de Servicios Públicos en días de pago </a:t>
            </a:r>
            <a:endParaRPr lang="es-AR" sz="1200" dirty="0">
              <a:solidFill>
                <a:srgbClr val="002060"/>
              </a:solidFill>
            </a:endParaRPr>
          </a:p>
          <a:p>
            <a:r>
              <a:rPr lang="es-AR" sz="1200" dirty="0">
                <a:solidFill>
                  <a:srgbClr val="002060"/>
                </a:solidFill>
              </a:rPr>
              <a:t>3.2. Recuperación del costo de servicio (cualitativo)</a:t>
            </a:r>
            <a:endParaRPr lang="en-US" sz="1200" dirty="0"/>
          </a:p>
        </p:txBody>
      </p:sp>
      <p:sp>
        <p:nvSpPr>
          <p:cNvPr id="26" name="Rectángulo 25"/>
          <p:cNvSpPr/>
          <p:nvPr/>
        </p:nvSpPr>
        <p:spPr>
          <a:xfrm rot="5400000">
            <a:off x="4301303" y="-901669"/>
            <a:ext cx="301405" cy="3948392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>
                <a:solidFill>
                  <a:schemeClr val="bg1"/>
                </a:solidFill>
              </a:rPr>
              <a:t>SOSTENIBILIDAD FINANCIER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7" name="Cheurón 26">
            <a:extLst>
              <a:ext uri="{FF2B5EF4-FFF2-40B4-BE49-F238E27FC236}">
                <a16:creationId xmlns:a16="http://schemas.microsoft.com/office/drawing/2014/main" id="{14DC11E6-8DB3-6F4F-8E6C-6956482B5FF4}"/>
              </a:ext>
            </a:extLst>
          </p:cNvPr>
          <p:cNvSpPr/>
          <p:nvPr/>
        </p:nvSpPr>
        <p:spPr>
          <a:xfrm rot="16200000">
            <a:off x="1725626" y="900743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47" name="Rectángulo redondeado 46"/>
          <p:cNvSpPr/>
          <p:nvPr/>
        </p:nvSpPr>
        <p:spPr>
          <a:xfrm rot="5400000">
            <a:off x="8905998" y="-631692"/>
            <a:ext cx="860804" cy="4441200"/>
          </a:xfrm>
          <a:prstGeom prst="roundRect">
            <a:avLst/>
          </a:prstGeom>
          <a:noFill/>
          <a:ln w="28575">
            <a:solidFill>
              <a:schemeClr val="accent6">
                <a:lumMod val="50000"/>
                <a:alpha val="99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s-ES" sz="1200" dirty="0">
                <a:solidFill>
                  <a:schemeClr val="accent6">
                    <a:lumMod val="50000"/>
                  </a:schemeClr>
                </a:solidFill>
              </a:rPr>
              <a:t>4.1. </a:t>
            </a:r>
            <a:r>
              <a:rPr lang="es-AR" sz="1200" dirty="0">
                <a:solidFill>
                  <a:schemeClr val="accent6">
                    <a:lumMod val="50000"/>
                  </a:schemeClr>
                </a:solidFill>
              </a:rPr>
              <a:t>Cumplimiento del PSMV (%)</a:t>
            </a:r>
          </a:p>
          <a:p>
            <a:r>
              <a:rPr lang="es-AR" sz="1200" dirty="0">
                <a:solidFill>
                  <a:schemeClr val="accent6">
                    <a:lumMod val="50000"/>
                  </a:schemeClr>
                </a:solidFill>
              </a:rPr>
              <a:t>5.1. Volumen de agua captado (</a:t>
            </a:r>
            <a:r>
              <a:rPr lang="es-AR" sz="1200" dirty="0" err="1">
                <a:solidFill>
                  <a:schemeClr val="accent6">
                    <a:lumMod val="50000"/>
                  </a:schemeClr>
                </a:solidFill>
              </a:rPr>
              <a:t>lpcd</a:t>
            </a:r>
            <a:r>
              <a:rPr lang="es-AR" sz="1200" dirty="0">
                <a:solidFill>
                  <a:schemeClr val="accent6">
                    <a:lumMod val="50000"/>
                  </a:schemeClr>
                </a:solidFill>
              </a:rPr>
              <a:t>)</a:t>
            </a:r>
            <a:endParaRPr lang="en-US" sz="1200" dirty="0"/>
          </a:p>
        </p:txBody>
      </p:sp>
      <p:sp>
        <p:nvSpPr>
          <p:cNvPr id="48" name="Rectángulo 47"/>
          <p:cNvSpPr/>
          <p:nvPr/>
        </p:nvSpPr>
        <p:spPr>
          <a:xfrm rot="5400000">
            <a:off x="9176868" y="-902656"/>
            <a:ext cx="301406" cy="394839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/>
              <a:t>SOSTENIBILIDAD AMBIENTAL</a:t>
            </a:r>
            <a:endParaRPr lang="en-US" sz="1600" b="1" dirty="0"/>
          </a:p>
        </p:txBody>
      </p:sp>
      <p:sp>
        <p:nvSpPr>
          <p:cNvPr id="49" name="Rectángulo redondeado 48"/>
          <p:cNvSpPr/>
          <p:nvPr/>
        </p:nvSpPr>
        <p:spPr>
          <a:xfrm rot="5400000">
            <a:off x="4076256" y="803373"/>
            <a:ext cx="948752" cy="4453900"/>
          </a:xfrm>
          <a:prstGeom prst="roundRect">
            <a:avLst/>
          </a:prstGeom>
          <a:noFill/>
          <a:ln w="2857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s-ES" sz="1200" dirty="0">
                <a:solidFill>
                  <a:srgbClr val="0070C0"/>
                </a:solidFill>
              </a:rPr>
              <a:t>6.</a:t>
            </a:r>
            <a:r>
              <a:rPr lang="es-AR" sz="1200" dirty="0">
                <a:solidFill>
                  <a:srgbClr val="0070C0"/>
                </a:solidFill>
              </a:rPr>
              <a:t>1. Desarrollo y seguimiento al proceso de inversiones e iniciativas (cualitativo)</a:t>
            </a:r>
          </a:p>
          <a:p>
            <a:r>
              <a:rPr lang="es-AR" sz="1200" dirty="0">
                <a:solidFill>
                  <a:srgbClr val="0070C0"/>
                </a:solidFill>
              </a:rPr>
              <a:t>6.2. Ejecución física de las inversiones</a:t>
            </a:r>
            <a:endParaRPr lang="en-US" sz="1600" dirty="0"/>
          </a:p>
        </p:txBody>
      </p:sp>
      <p:sp>
        <p:nvSpPr>
          <p:cNvPr id="50" name="Rectángulo 49"/>
          <p:cNvSpPr/>
          <p:nvPr/>
        </p:nvSpPr>
        <p:spPr>
          <a:xfrm rot="5400000">
            <a:off x="4296531" y="431049"/>
            <a:ext cx="310947" cy="3948392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/>
              <a:t>EFICIENCIA EN LA </a:t>
            </a:r>
            <a:r>
              <a:rPr lang="es-ES" sz="1600" b="1" dirty="0">
                <a:solidFill>
                  <a:schemeClr val="bg1"/>
                </a:solidFill>
              </a:rPr>
              <a:t>PLANEACIÓN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1" name="Rectángulo redondeado 50"/>
          <p:cNvSpPr/>
          <p:nvPr/>
        </p:nvSpPr>
        <p:spPr>
          <a:xfrm rot="5400000">
            <a:off x="8573835" y="2511437"/>
            <a:ext cx="1525130" cy="4441200"/>
          </a:xfrm>
          <a:prstGeom prst="roundRect">
            <a:avLst/>
          </a:prstGeom>
          <a:noFill/>
          <a:ln w="28575">
            <a:solidFill>
              <a:srgbClr val="7030A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s-AR" sz="1200" dirty="0">
                <a:solidFill>
                  <a:srgbClr val="7030A0"/>
                </a:solidFill>
              </a:rPr>
              <a:t>14.1. Continuidad en la prestación del servicio de acueducto (horas por día)</a:t>
            </a:r>
          </a:p>
          <a:p>
            <a:r>
              <a:rPr lang="en-US" sz="1200" dirty="0">
                <a:solidFill>
                  <a:srgbClr val="7030A0"/>
                </a:solidFill>
              </a:rPr>
              <a:t>14.2. </a:t>
            </a:r>
            <a:r>
              <a:rPr lang="es-AR" sz="1200" dirty="0">
                <a:solidFill>
                  <a:srgbClr val="7030A0"/>
                </a:solidFill>
              </a:rPr>
              <a:t>Índice de Riesgo de la Calidad del Agua para Consumo Humano (IRCA) (%)</a:t>
            </a:r>
          </a:p>
          <a:p>
            <a:r>
              <a:rPr lang="es-AR" sz="1200" dirty="0">
                <a:solidFill>
                  <a:srgbClr val="7030A0"/>
                </a:solidFill>
              </a:rPr>
              <a:t>15.1. Continuidad en la prestación del servicio de alcantarillado (</a:t>
            </a:r>
            <a:r>
              <a:rPr lang="es-AR" sz="1200" dirty="0" err="1">
                <a:solidFill>
                  <a:srgbClr val="7030A0"/>
                </a:solidFill>
              </a:rPr>
              <a:t>Hrs</a:t>
            </a:r>
            <a:r>
              <a:rPr lang="es-AR" sz="1200" dirty="0">
                <a:solidFill>
                  <a:srgbClr val="7030A0"/>
                </a:solidFill>
              </a:rPr>
              <a:t>/día)</a:t>
            </a:r>
          </a:p>
          <a:p>
            <a:r>
              <a:rPr lang="es-AR" sz="1200" dirty="0">
                <a:solidFill>
                  <a:srgbClr val="7030A0"/>
                </a:solidFill>
              </a:rPr>
              <a:t>16.1. PQR por cada 100 usuarios por año</a:t>
            </a:r>
          </a:p>
          <a:p>
            <a:r>
              <a:rPr lang="es-AR" sz="1200" dirty="0">
                <a:solidFill>
                  <a:srgbClr val="7030A0"/>
                </a:solidFill>
              </a:rPr>
              <a:t>16.2. Porcentaje de satisfacción del cliente (%)</a:t>
            </a:r>
            <a:endParaRPr lang="en-US" sz="1200" dirty="0">
              <a:solidFill>
                <a:srgbClr val="7030A0"/>
              </a:solidFill>
            </a:endParaRPr>
          </a:p>
        </p:txBody>
      </p:sp>
      <p:sp>
        <p:nvSpPr>
          <p:cNvPr id="52" name="Rectángulo 51"/>
          <p:cNvSpPr/>
          <p:nvPr/>
        </p:nvSpPr>
        <p:spPr>
          <a:xfrm rot="5400000">
            <a:off x="9173333" y="1888940"/>
            <a:ext cx="310943" cy="3948392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>
                <a:solidFill>
                  <a:schemeClr val="bg1"/>
                </a:solidFill>
              </a:rPr>
              <a:t>CALIDAD DE SERVICIO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3" name="Rectángulo redondeado 52"/>
          <p:cNvSpPr/>
          <p:nvPr/>
        </p:nvSpPr>
        <p:spPr>
          <a:xfrm rot="5400000">
            <a:off x="3761932" y="2498324"/>
            <a:ext cx="1538661" cy="4453900"/>
          </a:xfrm>
          <a:prstGeom prst="roundRect">
            <a:avLst/>
          </a:prstGeom>
          <a:noFill/>
          <a:ln w="28575">
            <a:solidFill>
              <a:schemeClr val="accent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s-ES" sz="1050" dirty="0">
                <a:solidFill>
                  <a:schemeClr val="accent2"/>
                </a:solidFill>
              </a:rPr>
              <a:t>9.1. </a:t>
            </a:r>
            <a:r>
              <a:rPr lang="es-AR" sz="1050" dirty="0">
                <a:solidFill>
                  <a:schemeClr val="accent2"/>
                </a:solidFill>
              </a:rPr>
              <a:t>Ejecución de procesos eficientes (cualitativo)</a:t>
            </a:r>
          </a:p>
          <a:p>
            <a:r>
              <a:rPr lang="es-AR" sz="1050" dirty="0">
                <a:solidFill>
                  <a:schemeClr val="accent2"/>
                </a:solidFill>
              </a:rPr>
              <a:t>10.1. IPUF (m3/usuario/mes) | 10.2. Porcentaje de agua no facturada (%)</a:t>
            </a:r>
          </a:p>
          <a:p>
            <a:r>
              <a:rPr lang="es-AR" sz="1050" dirty="0">
                <a:solidFill>
                  <a:schemeClr val="accent2"/>
                </a:solidFill>
              </a:rPr>
              <a:t>11.1. Fallas en la red de transporte y distribución acueducto | 11.2. Fallas en la red de alcantarillado | 11.3. Alcance del mantenimiento preventivo (cualitativo)</a:t>
            </a:r>
          </a:p>
          <a:p>
            <a:r>
              <a:rPr lang="es-AR" sz="1050" dirty="0">
                <a:solidFill>
                  <a:schemeClr val="accent2"/>
                </a:solidFill>
              </a:rPr>
              <a:t>12.1. Período promedio de cobro (días) | 12.2. Eficiencia en el recaudo (%)</a:t>
            </a:r>
          </a:p>
          <a:p>
            <a:r>
              <a:rPr lang="es-AR" sz="1050" dirty="0">
                <a:solidFill>
                  <a:schemeClr val="accent2"/>
                </a:solidFill>
              </a:rPr>
              <a:t>12.3. Índice de macromedición efectiva | 12.4. Índice de </a:t>
            </a:r>
            <a:r>
              <a:rPr lang="es-AR" sz="1050" dirty="0" err="1">
                <a:solidFill>
                  <a:schemeClr val="accent2"/>
                </a:solidFill>
              </a:rPr>
              <a:t>micromedición</a:t>
            </a:r>
            <a:r>
              <a:rPr lang="es-AR" sz="1050" dirty="0">
                <a:solidFill>
                  <a:schemeClr val="accent2"/>
                </a:solidFill>
              </a:rPr>
              <a:t> efectiva</a:t>
            </a:r>
          </a:p>
          <a:p>
            <a:r>
              <a:rPr lang="es-AR" sz="1050" dirty="0">
                <a:solidFill>
                  <a:schemeClr val="accent2"/>
                </a:solidFill>
              </a:rPr>
              <a:t>13.1. Consumo de electricidad por metro cúbico producido (</a:t>
            </a:r>
            <a:r>
              <a:rPr lang="es-AR" sz="1050" dirty="0" err="1">
                <a:solidFill>
                  <a:schemeClr val="accent2"/>
                </a:solidFill>
              </a:rPr>
              <a:t>kWh</a:t>
            </a:r>
            <a:r>
              <a:rPr lang="es-AR" sz="1050" dirty="0">
                <a:solidFill>
                  <a:schemeClr val="accent2"/>
                </a:solidFill>
              </a:rPr>
              <a:t>/m3)</a:t>
            </a:r>
            <a:endParaRPr lang="es-ES" sz="1050" dirty="0">
              <a:solidFill>
                <a:schemeClr val="accent2"/>
              </a:solidFill>
            </a:endParaRPr>
          </a:p>
        </p:txBody>
      </p:sp>
      <p:sp>
        <p:nvSpPr>
          <p:cNvPr id="54" name="Rectángulo 53"/>
          <p:cNvSpPr/>
          <p:nvPr/>
        </p:nvSpPr>
        <p:spPr>
          <a:xfrm rot="5400000">
            <a:off x="4359848" y="1868459"/>
            <a:ext cx="264139" cy="394839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>
                <a:solidFill>
                  <a:schemeClr val="bg1"/>
                </a:solidFill>
              </a:rPr>
              <a:t>EFICIENCIA EN LA OPERACIÓN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5" name="Rectángulo redondeado 54"/>
          <p:cNvSpPr/>
          <p:nvPr/>
        </p:nvSpPr>
        <p:spPr>
          <a:xfrm rot="5400000">
            <a:off x="8869596" y="824082"/>
            <a:ext cx="960821" cy="4413987"/>
          </a:xfrm>
          <a:prstGeom prst="roundRect">
            <a:avLst/>
          </a:prstGeom>
          <a:solidFill>
            <a:srgbClr val="FFFFFF"/>
          </a:solidFill>
          <a:ln w="28575">
            <a:solidFill>
              <a:schemeClr val="accent2">
                <a:lumMod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s-AR" sz="1200" dirty="0">
                <a:solidFill>
                  <a:srgbClr val="843C0C"/>
                </a:solidFill>
              </a:rPr>
              <a:t>7.1. Cobertura de acueducto (%)</a:t>
            </a:r>
          </a:p>
          <a:p>
            <a:r>
              <a:rPr lang="es-AR" sz="1200" dirty="0">
                <a:solidFill>
                  <a:srgbClr val="843C0C"/>
                </a:solidFill>
              </a:rPr>
              <a:t>8.1. Cobertura de alcantarillado (%)</a:t>
            </a:r>
            <a:endParaRPr lang="en-US" sz="1600" dirty="0">
              <a:solidFill>
                <a:srgbClr val="843C0C"/>
              </a:solidFill>
            </a:endParaRPr>
          </a:p>
        </p:txBody>
      </p:sp>
      <p:sp>
        <p:nvSpPr>
          <p:cNvPr id="56" name="Rectángulo 55"/>
          <p:cNvSpPr/>
          <p:nvPr/>
        </p:nvSpPr>
        <p:spPr>
          <a:xfrm rot="5400000">
            <a:off x="9203959" y="451672"/>
            <a:ext cx="292093" cy="3948392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>
                <a:solidFill>
                  <a:schemeClr val="bg1"/>
                </a:solidFill>
              </a:rPr>
              <a:t>ACCESO AL SERVICIO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57" name="Conector recto 56"/>
          <p:cNvCxnSpPr/>
          <p:nvPr/>
        </p:nvCxnSpPr>
        <p:spPr>
          <a:xfrm>
            <a:off x="1044100" y="5494602"/>
            <a:ext cx="10614581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ángulo redondeado 57"/>
          <p:cNvSpPr/>
          <p:nvPr/>
        </p:nvSpPr>
        <p:spPr>
          <a:xfrm rot="5400000">
            <a:off x="6458338" y="1668960"/>
            <a:ext cx="955523" cy="9241800"/>
          </a:xfrm>
          <a:prstGeom prst="roundRect">
            <a:avLst/>
          </a:prstGeom>
          <a:noFill/>
          <a:ln w="28575">
            <a:solidFill>
              <a:srgbClr val="55B0E7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r>
              <a:rPr lang="es-ES" sz="1200" dirty="0">
                <a:solidFill>
                  <a:schemeClr val="accent1">
                    <a:lumMod val="75000"/>
                  </a:schemeClr>
                </a:solidFill>
              </a:rPr>
              <a:t>17.1.</a:t>
            </a:r>
            <a:r>
              <a:rPr lang="es-AR" sz="1200" dirty="0">
                <a:solidFill>
                  <a:schemeClr val="accent1">
                    <a:lumMod val="75000"/>
                  </a:schemeClr>
                </a:solidFill>
              </a:rPr>
              <a:t> Gastos en la capacitación del personal (%) </a:t>
            </a:r>
            <a:r>
              <a:rPr lang="es-AR" sz="1200" b="1" dirty="0">
                <a:solidFill>
                  <a:schemeClr val="accent1">
                    <a:lumMod val="75000"/>
                  </a:schemeClr>
                </a:solidFill>
              </a:rPr>
              <a:t>| </a:t>
            </a:r>
            <a:r>
              <a:rPr lang="es-AR" sz="1200" dirty="0">
                <a:solidFill>
                  <a:schemeClr val="accent1">
                    <a:lumMod val="75000"/>
                  </a:schemeClr>
                </a:solidFill>
              </a:rPr>
              <a:t>17.2. Porcentaje de empleados capacitados (%) </a:t>
            </a:r>
            <a:r>
              <a:rPr lang="es-AR" sz="1200" b="1" dirty="0">
                <a:solidFill>
                  <a:schemeClr val="accent1">
                    <a:lumMod val="75000"/>
                  </a:schemeClr>
                </a:solidFill>
              </a:rPr>
              <a:t>|</a:t>
            </a:r>
            <a:r>
              <a:rPr lang="es-AR" sz="1200" dirty="0">
                <a:solidFill>
                  <a:schemeClr val="accent1">
                    <a:lumMod val="75000"/>
                  </a:schemeClr>
                </a:solidFill>
              </a:rPr>
              <a:t> 17.3. Ejecución del plan de recursos humanos (cualitativo)</a:t>
            </a:r>
          </a:p>
          <a:p>
            <a:r>
              <a:rPr lang="es-AR" sz="1200" dirty="0">
                <a:solidFill>
                  <a:schemeClr val="accent1">
                    <a:lumMod val="75000"/>
                  </a:schemeClr>
                </a:solidFill>
              </a:rPr>
              <a:t>18.1. Ejecución de la encuesta de cultura corporativa (cualitativo)</a:t>
            </a:r>
            <a:endParaRPr lang="en-US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9" name="Rectángulo 58"/>
          <p:cNvSpPr/>
          <p:nvPr/>
        </p:nvSpPr>
        <p:spPr>
          <a:xfrm rot="5400000">
            <a:off x="6783751" y="1664873"/>
            <a:ext cx="264888" cy="814017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55B0E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600" b="1" dirty="0">
                <a:solidFill>
                  <a:schemeClr val="bg1"/>
                </a:solidFill>
              </a:rPr>
              <a:t>EFICIENCIA EN LA GESTIÓN EMPRESARIAL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67" name="CuadroTexto 66"/>
          <p:cNvSpPr txBox="1"/>
          <p:nvPr/>
        </p:nvSpPr>
        <p:spPr>
          <a:xfrm rot="16200000">
            <a:off x="-1108502" y="1740715"/>
            <a:ext cx="30688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dirty="0"/>
              <a:t>Gestión integral y eficiente  con aporte a la vida y la salud de la población.</a:t>
            </a:r>
            <a:endParaRPr lang="es-CO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8" name="CuadroTexto 67">
            <a:extLst>
              <a:ext uri="{FF2B5EF4-FFF2-40B4-BE49-F238E27FC236}">
                <a16:creationId xmlns:a16="http://schemas.microsoft.com/office/drawing/2014/main" id="{71D7FFD8-653A-5179-84D7-7EF7D967DAAA}"/>
              </a:ext>
            </a:extLst>
          </p:cNvPr>
          <p:cNvSpPr txBox="1"/>
          <p:nvPr/>
        </p:nvSpPr>
        <p:spPr>
          <a:xfrm rot="16200000">
            <a:off x="1051151" y="4402768"/>
            <a:ext cx="7517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1200" b="1" dirty="0"/>
              <a:t>CALIDAD</a:t>
            </a:r>
          </a:p>
        </p:txBody>
      </p:sp>
      <p:sp>
        <p:nvSpPr>
          <p:cNvPr id="69" name="Pentágono 14">
            <a:extLst>
              <a:ext uri="{FF2B5EF4-FFF2-40B4-BE49-F238E27FC236}">
                <a16:creationId xmlns:a16="http://schemas.microsoft.com/office/drawing/2014/main" id="{788239D0-17C5-552F-B8AF-44F7E73896DA}"/>
              </a:ext>
            </a:extLst>
          </p:cNvPr>
          <p:cNvSpPr/>
          <p:nvPr/>
        </p:nvSpPr>
        <p:spPr>
          <a:xfrm rot="16200000">
            <a:off x="1521717" y="3019027"/>
            <a:ext cx="603038" cy="228715"/>
          </a:xfrm>
          <a:prstGeom prst="homePlate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70" name="Cheurón 15">
            <a:extLst>
              <a:ext uri="{FF2B5EF4-FFF2-40B4-BE49-F238E27FC236}">
                <a16:creationId xmlns:a16="http://schemas.microsoft.com/office/drawing/2014/main" id="{DED95E53-D40F-8A7B-6A2E-3D9C8F38422E}"/>
              </a:ext>
            </a:extLst>
          </p:cNvPr>
          <p:cNvSpPr/>
          <p:nvPr/>
        </p:nvSpPr>
        <p:spPr>
          <a:xfrm rot="16200000">
            <a:off x="1720240" y="2655404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1" name="Cheurón 16">
            <a:extLst>
              <a:ext uri="{FF2B5EF4-FFF2-40B4-BE49-F238E27FC236}">
                <a16:creationId xmlns:a16="http://schemas.microsoft.com/office/drawing/2014/main" id="{E4B649FF-2A12-1530-7386-9C0CF467B60F}"/>
              </a:ext>
            </a:extLst>
          </p:cNvPr>
          <p:cNvSpPr/>
          <p:nvPr/>
        </p:nvSpPr>
        <p:spPr>
          <a:xfrm rot="16200000">
            <a:off x="1720240" y="2490304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2" name="Cheurón 20">
            <a:extLst>
              <a:ext uri="{FF2B5EF4-FFF2-40B4-BE49-F238E27FC236}">
                <a16:creationId xmlns:a16="http://schemas.microsoft.com/office/drawing/2014/main" id="{E9E50B78-0B72-BF9F-81C4-88077DF295AD}"/>
              </a:ext>
            </a:extLst>
          </p:cNvPr>
          <p:cNvSpPr/>
          <p:nvPr/>
        </p:nvSpPr>
        <p:spPr>
          <a:xfrm rot="16200000">
            <a:off x="1720124" y="3324614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3" name="Cheurón 26">
            <a:extLst>
              <a:ext uri="{FF2B5EF4-FFF2-40B4-BE49-F238E27FC236}">
                <a16:creationId xmlns:a16="http://schemas.microsoft.com/office/drawing/2014/main" id="{EDD21FEB-3649-FB96-2117-94871B127146}"/>
              </a:ext>
            </a:extLst>
          </p:cNvPr>
          <p:cNvSpPr/>
          <p:nvPr/>
        </p:nvSpPr>
        <p:spPr>
          <a:xfrm rot="16200000">
            <a:off x="1720240" y="2325204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4" name="Pentágono 14">
            <a:extLst>
              <a:ext uri="{FF2B5EF4-FFF2-40B4-BE49-F238E27FC236}">
                <a16:creationId xmlns:a16="http://schemas.microsoft.com/office/drawing/2014/main" id="{4DD5D301-8BF3-0293-1CB8-D26CB631878D}"/>
              </a:ext>
            </a:extLst>
          </p:cNvPr>
          <p:cNvSpPr/>
          <p:nvPr/>
        </p:nvSpPr>
        <p:spPr>
          <a:xfrm rot="16200000">
            <a:off x="1521601" y="4655295"/>
            <a:ext cx="603038" cy="228715"/>
          </a:xfrm>
          <a:prstGeom prst="homePlate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75" name="Cheurón 15">
            <a:extLst>
              <a:ext uri="{FF2B5EF4-FFF2-40B4-BE49-F238E27FC236}">
                <a16:creationId xmlns:a16="http://schemas.microsoft.com/office/drawing/2014/main" id="{F7D470F0-4844-9DBB-AB4A-9BC36E967CAC}"/>
              </a:ext>
            </a:extLst>
          </p:cNvPr>
          <p:cNvSpPr/>
          <p:nvPr/>
        </p:nvSpPr>
        <p:spPr>
          <a:xfrm rot="16200000">
            <a:off x="1720124" y="4291672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6" name="Cheurón 16">
            <a:extLst>
              <a:ext uri="{FF2B5EF4-FFF2-40B4-BE49-F238E27FC236}">
                <a16:creationId xmlns:a16="http://schemas.microsoft.com/office/drawing/2014/main" id="{752ED196-E544-90B4-A2D6-8A8EFF0133D4}"/>
              </a:ext>
            </a:extLst>
          </p:cNvPr>
          <p:cNvSpPr/>
          <p:nvPr/>
        </p:nvSpPr>
        <p:spPr>
          <a:xfrm rot="16200000">
            <a:off x="1720124" y="4126572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7" name="Cheurón 20">
            <a:extLst>
              <a:ext uri="{FF2B5EF4-FFF2-40B4-BE49-F238E27FC236}">
                <a16:creationId xmlns:a16="http://schemas.microsoft.com/office/drawing/2014/main" id="{DABD0602-E46D-557D-0500-43ED7B6C64AA}"/>
              </a:ext>
            </a:extLst>
          </p:cNvPr>
          <p:cNvSpPr/>
          <p:nvPr/>
        </p:nvSpPr>
        <p:spPr>
          <a:xfrm rot="16200000">
            <a:off x="1720008" y="4960882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78" name="Cheurón 26">
            <a:extLst>
              <a:ext uri="{FF2B5EF4-FFF2-40B4-BE49-F238E27FC236}">
                <a16:creationId xmlns:a16="http://schemas.microsoft.com/office/drawing/2014/main" id="{F4DCC2EA-2370-6851-ACE5-604FEE522560}"/>
              </a:ext>
            </a:extLst>
          </p:cNvPr>
          <p:cNvSpPr/>
          <p:nvPr/>
        </p:nvSpPr>
        <p:spPr>
          <a:xfrm rot="16200000">
            <a:off x="1720124" y="3961472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cxnSp>
        <p:nvCxnSpPr>
          <p:cNvPr id="79" name="Conector recto 78">
            <a:extLst>
              <a:ext uri="{FF2B5EF4-FFF2-40B4-BE49-F238E27FC236}">
                <a16:creationId xmlns:a16="http://schemas.microsoft.com/office/drawing/2014/main" id="{1341375D-E566-EC6F-5A2E-AEAE946962FC}"/>
              </a:ext>
            </a:extLst>
          </p:cNvPr>
          <p:cNvCxnSpPr/>
          <p:nvPr/>
        </p:nvCxnSpPr>
        <p:spPr>
          <a:xfrm>
            <a:off x="1094985" y="3655113"/>
            <a:ext cx="10614581" cy="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Pentágono 14">
            <a:extLst>
              <a:ext uri="{FF2B5EF4-FFF2-40B4-BE49-F238E27FC236}">
                <a16:creationId xmlns:a16="http://schemas.microsoft.com/office/drawing/2014/main" id="{19E5C194-6889-2311-791F-64353AE4CB17}"/>
              </a:ext>
            </a:extLst>
          </p:cNvPr>
          <p:cNvSpPr/>
          <p:nvPr/>
        </p:nvSpPr>
        <p:spPr>
          <a:xfrm rot="16200000">
            <a:off x="1527105" y="6244680"/>
            <a:ext cx="603038" cy="228715"/>
          </a:xfrm>
          <a:prstGeom prst="homePlate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/>
          </a:p>
        </p:txBody>
      </p:sp>
      <p:sp>
        <p:nvSpPr>
          <p:cNvPr id="81" name="Cheurón 15">
            <a:extLst>
              <a:ext uri="{FF2B5EF4-FFF2-40B4-BE49-F238E27FC236}">
                <a16:creationId xmlns:a16="http://schemas.microsoft.com/office/drawing/2014/main" id="{72601F72-28DA-E26B-B447-FDB740AB7309}"/>
              </a:ext>
            </a:extLst>
          </p:cNvPr>
          <p:cNvSpPr/>
          <p:nvPr/>
        </p:nvSpPr>
        <p:spPr>
          <a:xfrm rot="16200000">
            <a:off x="1725628" y="5881057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82" name="Cheurón 16">
            <a:extLst>
              <a:ext uri="{FF2B5EF4-FFF2-40B4-BE49-F238E27FC236}">
                <a16:creationId xmlns:a16="http://schemas.microsoft.com/office/drawing/2014/main" id="{FE8914CD-73BF-F1F9-3CE8-56C11A38392F}"/>
              </a:ext>
            </a:extLst>
          </p:cNvPr>
          <p:cNvSpPr/>
          <p:nvPr/>
        </p:nvSpPr>
        <p:spPr>
          <a:xfrm rot="16200000">
            <a:off x="1725628" y="5715957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83" name="Cheurón 20">
            <a:extLst>
              <a:ext uri="{FF2B5EF4-FFF2-40B4-BE49-F238E27FC236}">
                <a16:creationId xmlns:a16="http://schemas.microsoft.com/office/drawing/2014/main" id="{E093C2D5-BFB4-B4C9-A62A-5C5C5EA21BCD}"/>
              </a:ext>
            </a:extLst>
          </p:cNvPr>
          <p:cNvSpPr/>
          <p:nvPr/>
        </p:nvSpPr>
        <p:spPr>
          <a:xfrm rot="16200000">
            <a:off x="1725512" y="6550267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84" name="Cheurón 26">
            <a:extLst>
              <a:ext uri="{FF2B5EF4-FFF2-40B4-BE49-F238E27FC236}">
                <a16:creationId xmlns:a16="http://schemas.microsoft.com/office/drawing/2014/main" id="{3AAA4CCC-D816-C118-F1DB-5B567617E7B4}"/>
              </a:ext>
            </a:extLst>
          </p:cNvPr>
          <p:cNvSpPr/>
          <p:nvPr/>
        </p:nvSpPr>
        <p:spPr>
          <a:xfrm rot="16200000">
            <a:off x="1725628" y="5550857"/>
            <a:ext cx="205994" cy="228715"/>
          </a:xfrm>
          <a:prstGeom prst="chevron">
            <a:avLst/>
          </a:prstGeom>
          <a:solidFill>
            <a:srgbClr val="F32929"/>
          </a:solidFill>
          <a:ln>
            <a:solidFill>
              <a:srgbClr val="F3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schemeClr val="tx1"/>
              </a:solidFill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0E797A07-EAC2-493A-ADFB-B287C3DE4145}"/>
              </a:ext>
            </a:extLst>
          </p:cNvPr>
          <p:cNvSpPr/>
          <p:nvPr/>
        </p:nvSpPr>
        <p:spPr>
          <a:xfrm rot="5400000">
            <a:off x="1416279" y="52716"/>
            <a:ext cx="298488" cy="1227510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s-ES" sz="1200" b="1" dirty="0">
                <a:solidFill>
                  <a:schemeClr val="bg1"/>
                </a:solidFill>
              </a:rPr>
              <a:t>PERSPECTIVA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" name="Triángulo isósceles 1">
            <a:extLst>
              <a:ext uri="{FF2B5EF4-FFF2-40B4-BE49-F238E27FC236}">
                <a16:creationId xmlns:a16="http://schemas.microsoft.com/office/drawing/2014/main" id="{EAC442E2-7AEB-43B0-AF69-B256F31A9C0D}"/>
              </a:ext>
            </a:extLst>
          </p:cNvPr>
          <p:cNvSpPr/>
          <p:nvPr/>
        </p:nvSpPr>
        <p:spPr>
          <a:xfrm>
            <a:off x="2315200" y="-258783"/>
            <a:ext cx="9233317" cy="726681"/>
          </a:xfrm>
          <a:prstGeom prst="triangle">
            <a:avLst>
              <a:gd name="adj" fmla="val 49681"/>
            </a:avLst>
          </a:prstGeom>
          <a:solidFill>
            <a:srgbClr val="9CCA7C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es-ES" sz="1600" b="1" dirty="0"/>
              <a:t>GOBIERNO CORPORATIVO</a:t>
            </a:r>
            <a:endParaRPr lang="es-PE" sz="1600" b="1" dirty="0"/>
          </a:p>
        </p:txBody>
      </p:sp>
    </p:spTree>
    <p:extLst>
      <p:ext uri="{BB962C8B-B14F-4D97-AF65-F5344CB8AC3E}">
        <p14:creationId xmlns:p14="http://schemas.microsoft.com/office/powerpoint/2010/main" val="19400276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Oval 23">
            <a:extLst>
              <a:ext uri="{FF2B5EF4-FFF2-40B4-BE49-F238E27FC236}">
                <a16:creationId xmlns:a16="http://schemas.microsoft.com/office/drawing/2014/main" id="{8EE40F78-0B02-49F5-9490-D11CBBC74565}"/>
              </a:ext>
            </a:extLst>
          </p:cNvPr>
          <p:cNvSpPr/>
          <p:nvPr/>
        </p:nvSpPr>
        <p:spPr>
          <a:xfrm>
            <a:off x="10322717" y="2022792"/>
            <a:ext cx="1808297" cy="1808296"/>
          </a:xfrm>
          <a:prstGeom prst="ellipse">
            <a:avLst/>
          </a:prstGeom>
          <a:solidFill>
            <a:schemeClr val="bg1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-27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205" name="Chord 24">
            <a:extLst>
              <a:ext uri="{FF2B5EF4-FFF2-40B4-BE49-F238E27FC236}">
                <a16:creationId xmlns:a16="http://schemas.microsoft.com/office/drawing/2014/main" id="{E7CEA83C-FBD2-4959-A762-50D8178BA65F}"/>
              </a:ext>
            </a:extLst>
          </p:cNvPr>
          <p:cNvSpPr/>
          <p:nvPr/>
        </p:nvSpPr>
        <p:spPr>
          <a:xfrm rot="16200000">
            <a:off x="10322052" y="2037625"/>
            <a:ext cx="1804547" cy="1804547"/>
          </a:xfrm>
          <a:prstGeom prst="chord">
            <a:avLst>
              <a:gd name="adj1" fmla="val 4306560"/>
              <a:gd name="adj2" fmla="val 17287530"/>
            </a:avLst>
          </a:prstGeom>
          <a:solidFill>
            <a:schemeClr val="accent2"/>
          </a:solidFill>
          <a:ln w="317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-27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235" name="Rectangle 28">
            <a:extLst>
              <a:ext uri="{FF2B5EF4-FFF2-40B4-BE49-F238E27FC236}">
                <a16:creationId xmlns:a16="http://schemas.microsoft.com/office/drawing/2014/main" id="{63594DF8-0A70-4718-9EE1-2BEB19F4C027}"/>
              </a:ext>
            </a:extLst>
          </p:cNvPr>
          <p:cNvSpPr/>
          <p:nvPr/>
        </p:nvSpPr>
        <p:spPr>
          <a:xfrm>
            <a:off x="10942482" y="2449210"/>
            <a:ext cx="1214934" cy="549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6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-2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Century Gothic"/>
              </a:rPr>
              <a:t>Agenda 2030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516401" y="801208"/>
            <a:ext cx="1774624" cy="515784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48201" tIns="48201" rIns="48201" bIns="48201" numCol="1" spcCol="1270" anchor="ctr" anchorCtr="0">
            <a:noAutofit/>
          </a:bodyPr>
          <a:lstStyle/>
          <a:p>
            <a:pPr marL="0" marR="0" lvl="0" indent="0" algn="ctr" defTabSz="9482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LIDAD DE SERVICIO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540328" y="3043029"/>
            <a:ext cx="1774624" cy="515784"/>
          </a:xfrm>
          <a:prstGeom prst="roundRect">
            <a:avLst>
              <a:gd name="adj" fmla="val 50000"/>
            </a:avLst>
          </a:prstGeom>
          <a:solidFill>
            <a:srgbClr val="ED7D31"/>
          </a:solidFill>
          <a:ln>
            <a:solidFill>
              <a:srgbClr val="ED7D3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48201" tIns="48201" rIns="48201" bIns="48201" numCol="1" spcCol="1270" anchor="ctr" anchorCtr="0">
            <a:noAutofit/>
          </a:bodyPr>
          <a:lstStyle/>
          <a:p>
            <a:pPr marL="0" marR="0" lvl="0" indent="0" algn="ctr" defTabSz="9482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FICIENCIA EN LA OPERACIÓN</a:t>
            </a:r>
          </a:p>
        </p:txBody>
      </p:sp>
      <p:sp>
        <p:nvSpPr>
          <p:cNvPr id="33" name="Rectangle 32"/>
          <p:cNvSpPr/>
          <p:nvPr/>
        </p:nvSpPr>
        <p:spPr>
          <a:xfrm>
            <a:off x="3010272" y="792219"/>
            <a:ext cx="2474774" cy="1067985"/>
          </a:xfrm>
          <a:prstGeom prst="rect">
            <a:avLst/>
          </a:prstGeom>
        </p:spPr>
        <p:txBody>
          <a:bodyPr wrap="square" lIns="243840" rIns="243840" bIns="97536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rantizar la gestión integral de abastecimiento, acueducto y alcantarillado con estándares de calidad, continuidad y cobertura</a:t>
            </a:r>
          </a:p>
        </p:txBody>
      </p:sp>
      <p:cxnSp>
        <p:nvCxnSpPr>
          <p:cNvPr id="35" name="Elbow Connector 34"/>
          <p:cNvCxnSpPr>
            <a:cxnSpLocks/>
            <a:stCxn id="25" idx="3"/>
            <a:endCxn id="47" idx="2"/>
          </p:cNvCxnSpPr>
          <p:nvPr/>
        </p:nvCxnSpPr>
        <p:spPr>
          <a:xfrm>
            <a:off x="2291025" y="1059100"/>
            <a:ext cx="387997" cy="1131"/>
          </a:xfrm>
          <a:prstGeom prst="bentConnector3">
            <a:avLst/>
          </a:prstGeom>
          <a:ln w="3175" cmpd="sng">
            <a:solidFill>
              <a:srgbClr val="7030A0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>
            <a:cxnSpLocks/>
            <a:stCxn id="27" idx="3"/>
            <a:endCxn id="52" idx="2"/>
          </p:cNvCxnSpPr>
          <p:nvPr/>
        </p:nvCxnSpPr>
        <p:spPr>
          <a:xfrm flipV="1">
            <a:off x="2314952" y="3016331"/>
            <a:ext cx="363519" cy="284590"/>
          </a:xfrm>
          <a:prstGeom prst="bentConnector3">
            <a:avLst/>
          </a:prstGeom>
          <a:ln w="3175" cmpd="sng">
            <a:solidFill>
              <a:srgbClr val="ED7D3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43"/>
          <p:cNvCxnSpPr>
            <a:cxnSpLocks/>
            <a:stCxn id="27" idx="3"/>
            <a:endCxn id="53" idx="2"/>
          </p:cNvCxnSpPr>
          <p:nvPr/>
        </p:nvCxnSpPr>
        <p:spPr>
          <a:xfrm>
            <a:off x="2314952" y="3300921"/>
            <a:ext cx="356691" cy="320614"/>
          </a:xfrm>
          <a:prstGeom prst="bentConnector3">
            <a:avLst/>
          </a:prstGeom>
          <a:ln w="3175" cmpd="sng">
            <a:solidFill>
              <a:srgbClr val="ED7D3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Freeform 46"/>
          <p:cNvSpPr/>
          <p:nvPr/>
        </p:nvSpPr>
        <p:spPr>
          <a:xfrm rot="10800000" flipV="1">
            <a:off x="2679022" y="842155"/>
            <a:ext cx="438395" cy="436152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rgbClr val="7030A0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76553" tIns="275211" rIns="276553" bIns="275211" numCol="1" spcCol="1270" anchor="ctr" anchorCtr="0">
            <a:noAutofit/>
          </a:bodyPr>
          <a:lstStyle/>
          <a:p>
            <a:pPr marL="0" marR="0" lvl="0" indent="0" algn="ctr" defTabSz="9482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4</a:t>
            </a:r>
          </a:p>
        </p:txBody>
      </p:sp>
      <p:sp>
        <p:nvSpPr>
          <p:cNvPr id="52" name="Freeform 51"/>
          <p:cNvSpPr/>
          <p:nvPr/>
        </p:nvSpPr>
        <p:spPr>
          <a:xfrm rot="10800000" flipV="1">
            <a:off x="2678471" y="2798255"/>
            <a:ext cx="438395" cy="436152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rgbClr val="ED7D31"/>
          </a:solidFill>
          <a:ln>
            <a:solidFill>
              <a:srgbClr val="ED7D3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76553" tIns="275211" rIns="276553" bIns="275211" numCol="1" spcCol="1270" anchor="ctr" anchorCtr="0">
            <a:noAutofit/>
          </a:bodyPr>
          <a:lstStyle/>
          <a:p>
            <a:pPr marL="0" marR="0" lvl="0" indent="0" algn="ctr" defTabSz="9482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</a:t>
            </a:r>
          </a:p>
        </p:txBody>
      </p:sp>
      <p:sp>
        <p:nvSpPr>
          <p:cNvPr id="53" name="Freeform 52"/>
          <p:cNvSpPr/>
          <p:nvPr/>
        </p:nvSpPr>
        <p:spPr>
          <a:xfrm rot="10800000" flipV="1">
            <a:off x="2671643" y="3403459"/>
            <a:ext cx="438395" cy="436152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rgbClr val="ED7D31"/>
          </a:solidFill>
          <a:ln>
            <a:solidFill>
              <a:srgbClr val="ED7D31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76553" tIns="275211" rIns="276553" bIns="275211" numCol="1" spcCol="1270" anchor="ctr" anchorCtr="0">
            <a:noAutofit/>
          </a:bodyPr>
          <a:lstStyle/>
          <a:p>
            <a:pPr marL="0" marR="0" lvl="0" indent="0" algn="ctr" defTabSz="9482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1</a:t>
            </a:r>
          </a:p>
        </p:txBody>
      </p:sp>
      <p:sp>
        <p:nvSpPr>
          <p:cNvPr id="183" name="Freeform 12">
            <a:extLst>
              <a:ext uri="{FF2B5EF4-FFF2-40B4-BE49-F238E27FC236}">
                <a16:creationId xmlns:a16="http://schemas.microsoft.com/office/drawing/2014/main" id="{416BBABD-1DDC-4112-A429-C43833D06D4F}"/>
              </a:ext>
            </a:extLst>
          </p:cNvPr>
          <p:cNvSpPr/>
          <p:nvPr/>
        </p:nvSpPr>
        <p:spPr>
          <a:xfrm>
            <a:off x="8801226" y="1785989"/>
            <a:ext cx="1666897" cy="1708635"/>
          </a:xfrm>
          <a:custGeom>
            <a:avLst/>
            <a:gdLst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5862181"/>
              <a:gd name="connsiteY0" fmla="*/ 0 h 1753644"/>
              <a:gd name="connsiteX1" fmla="*/ 5862181 w 5862181"/>
              <a:gd name="connsiteY1" fmla="*/ 1753644 h 1753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862181" h="1753644">
                <a:moveTo>
                  <a:pt x="0" y="0"/>
                </a:moveTo>
                <a:cubicBezTo>
                  <a:pt x="2670131" y="73069"/>
                  <a:pt x="3098105" y="1743206"/>
                  <a:pt x="5862181" y="1753644"/>
                </a:cubicBezTo>
              </a:path>
            </a:pathLst>
          </a:custGeom>
          <a:noFill/>
          <a:ln w="215900">
            <a:gradFill>
              <a:gsLst>
                <a:gs pos="0">
                  <a:schemeClr val="accent1">
                    <a:lumMod val="75000"/>
                  </a:schemeClr>
                </a:gs>
                <a:gs pos="10000">
                  <a:schemeClr val="accent1"/>
                </a:gs>
                <a:gs pos="8800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84" name="Freeform 13">
            <a:extLst>
              <a:ext uri="{FF2B5EF4-FFF2-40B4-BE49-F238E27FC236}">
                <a16:creationId xmlns:a16="http://schemas.microsoft.com/office/drawing/2014/main" id="{D0DE6BE3-38CB-4A80-981C-2B9C9CFD13A4}"/>
              </a:ext>
            </a:extLst>
          </p:cNvPr>
          <p:cNvSpPr/>
          <p:nvPr/>
        </p:nvSpPr>
        <p:spPr>
          <a:xfrm>
            <a:off x="8760296" y="1227966"/>
            <a:ext cx="1646962" cy="1336660"/>
          </a:xfrm>
          <a:custGeom>
            <a:avLst/>
            <a:gdLst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5862181"/>
              <a:gd name="connsiteY0" fmla="*/ 0 h 1753644"/>
              <a:gd name="connsiteX1" fmla="*/ 5862181 w 5862181"/>
              <a:gd name="connsiteY1" fmla="*/ 1753644 h 1753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862181" h="1753644">
                <a:moveTo>
                  <a:pt x="0" y="0"/>
                </a:moveTo>
                <a:cubicBezTo>
                  <a:pt x="2670131" y="73069"/>
                  <a:pt x="3098105" y="1743206"/>
                  <a:pt x="5862181" y="1753644"/>
                </a:cubicBezTo>
              </a:path>
            </a:pathLst>
          </a:custGeom>
          <a:noFill/>
          <a:ln w="76200">
            <a:gradFill>
              <a:gsLst>
                <a:gs pos="0">
                  <a:schemeClr val="accent1">
                    <a:lumMod val="75000"/>
                  </a:schemeClr>
                </a:gs>
                <a:gs pos="11000">
                  <a:schemeClr val="accent1"/>
                </a:gs>
                <a:gs pos="95000">
                  <a:schemeClr val="accent1"/>
                </a:gs>
                <a:gs pos="100000">
                  <a:schemeClr val="accent1">
                    <a:lumMod val="75000"/>
                  </a:schemeClr>
                </a:gs>
              </a:gsLst>
              <a:lin ang="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85" name="Freeform 14">
            <a:extLst>
              <a:ext uri="{FF2B5EF4-FFF2-40B4-BE49-F238E27FC236}">
                <a16:creationId xmlns:a16="http://schemas.microsoft.com/office/drawing/2014/main" id="{A7A731C7-BCA1-4C85-861D-91121204FAD6}"/>
              </a:ext>
            </a:extLst>
          </p:cNvPr>
          <p:cNvSpPr/>
          <p:nvPr/>
        </p:nvSpPr>
        <p:spPr>
          <a:xfrm flipV="1">
            <a:off x="8807910" y="2250003"/>
            <a:ext cx="1832143" cy="1162857"/>
          </a:xfrm>
          <a:custGeom>
            <a:avLst/>
            <a:gdLst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5862181"/>
              <a:gd name="connsiteY0" fmla="*/ 0 h 1753644"/>
              <a:gd name="connsiteX1" fmla="*/ 5862181 w 5862181"/>
              <a:gd name="connsiteY1" fmla="*/ 1753644 h 1753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862181" h="1753644">
                <a:moveTo>
                  <a:pt x="0" y="0"/>
                </a:moveTo>
                <a:cubicBezTo>
                  <a:pt x="2670131" y="73069"/>
                  <a:pt x="3098105" y="1743206"/>
                  <a:pt x="5862181" y="1753644"/>
                </a:cubicBezTo>
              </a:path>
            </a:pathLst>
          </a:custGeom>
          <a:noFill/>
          <a:ln w="215900">
            <a:gradFill>
              <a:gsLst>
                <a:gs pos="0">
                  <a:schemeClr val="accent4">
                    <a:lumMod val="75000"/>
                  </a:schemeClr>
                </a:gs>
                <a:gs pos="7000">
                  <a:schemeClr val="accent4"/>
                </a:gs>
                <a:gs pos="91000">
                  <a:schemeClr val="accent4"/>
                </a:gs>
                <a:gs pos="100000">
                  <a:schemeClr val="accent4">
                    <a:lumMod val="75000"/>
                  </a:schemeClr>
                </a:gs>
              </a:gsLst>
              <a:lin ang="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86" name="Freeform 15">
            <a:extLst>
              <a:ext uri="{FF2B5EF4-FFF2-40B4-BE49-F238E27FC236}">
                <a16:creationId xmlns:a16="http://schemas.microsoft.com/office/drawing/2014/main" id="{923981E6-40A7-4B0F-A091-4099C0A2869F}"/>
              </a:ext>
            </a:extLst>
          </p:cNvPr>
          <p:cNvSpPr/>
          <p:nvPr/>
        </p:nvSpPr>
        <p:spPr>
          <a:xfrm>
            <a:off x="8810208" y="2373679"/>
            <a:ext cx="1453881" cy="610219"/>
          </a:xfrm>
          <a:custGeom>
            <a:avLst/>
            <a:gdLst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5862181"/>
              <a:gd name="connsiteY0" fmla="*/ 0 h 1753644"/>
              <a:gd name="connsiteX1" fmla="*/ 5862181 w 5862181"/>
              <a:gd name="connsiteY1" fmla="*/ 1753644 h 1753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862181" h="1753644">
                <a:moveTo>
                  <a:pt x="0" y="0"/>
                </a:moveTo>
                <a:cubicBezTo>
                  <a:pt x="2670131" y="73069"/>
                  <a:pt x="3098105" y="1743206"/>
                  <a:pt x="5862181" y="1753644"/>
                </a:cubicBezTo>
              </a:path>
            </a:pathLst>
          </a:custGeom>
          <a:solidFill>
            <a:schemeClr val="accent3"/>
          </a:solidFill>
          <a:ln w="63500">
            <a:gradFill>
              <a:gsLst>
                <a:gs pos="0">
                  <a:schemeClr val="accent4">
                    <a:lumMod val="75000"/>
                  </a:schemeClr>
                </a:gs>
                <a:gs pos="7000">
                  <a:schemeClr val="accent4"/>
                </a:gs>
                <a:gs pos="95000">
                  <a:schemeClr val="accent4"/>
                </a:gs>
                <a:gs pos="100000">
                  <a:schemeClr val="accent4">
                    <a:lumMod val="75000"/>
                  </a:schemeClr>
                </a:gs>
              </a:gsLst>
              <a:lin ang="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87" name="Freeform 73">
            <a:extLst>
              <a:ext uri="{FF2B5EF4-FFF2-40B4-BE49-F238E27FC236}">
                <a16:creationId xmlns:a16="http://schemas.microsoft.com/office/drawing/2014/main" id="{34D9D9DF-5DD0-47D2-B57A-72B06C10AA92}"/>
              </a:ext>
            </a:extLst>
          </p:cNvPr>
          <p:cNvSpPr/>
          <p:nvPr/>
        </p:nvSpPr>
        <p:spPr>
          <a:xfrm>
            <a:off x="8819485" y="3517508"/>
            <a:ext cx="2187842" cy="279277"/>
          </a:xfrm>
          <a:custGeom>
            <a:avLst/>
            <a:gdLst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5862181"/>
              <a:gd name="connsiteY0" fmla="*/ 0 h 1753644"/>
              <a:gd name="connsiteX1" fmla="*/ 5862181 w 5862181"/>
              <a:gd name="connsiteY1" fmla="*/ 1753644 h 1753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862181" h="1753644">
                <a:moveTo>
                  <a:pt x="0" y="0"/>
                </a:moveTo>
                <a:cubicBezTo>
                  <a:pt x="2670131" y="73069"/>
                  <a:pt x="3098105" y="1743206"/>
                  <a:pt x="5862181" y="1753644"/>
                </a:cubicBezTo>
              </a:path>
            </a:pathLst>
          </a:custGeom>
          <a:noFill/>
          <a:ln w="50800">
            <a:gradFill>
              <a:gsLst>
                <a:gs pos="0">
                  <a:schemeClr val="accent4">
                    <a:lumMod val="75000"/>
                  </a:schemeClr>
                </a:gs>
                <a:gs pos="7000">
                  <a:schemeClr val="accent4"/>
                </a:gs>
                <a:gs pos="95000">
                  <a:schemeClr val="accent4"/>
                </a:gs>
                <a:gs pos="100000">
                  <a:schemeClr val="accent4">
                    <a:lumMod val="75000"/>
                  </a:schemeClr>
                </a:gs>
              </a:gsLst>
              <a:lin ang="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88" name="Freeform 16">
            <a:extLst>
              <a:ext uri="{FF2B5EF4-FFF2-40B4-BE49-F238E27FC236}">
                <a16:creationId xmlns:a16="http://schemas.microsoft.com/office/drawing/2014/main" id="{2C36F285-5588-43AF-88F6-25FC924BB8FA}"/>
              </a:ext>
            </a:extLst>
          </p:cNvPr>
          <p:cNvSpPr/>
          <p:nvPr/>
        </p:nvSpPr>
        <p:spPr>
          <a:xfrm flipV="1">
            <a:off x="8799122" y="3700557"/>
            <a:ext cx="1807930" cy="2388378"/>
          </a:xfrm>
          <a:custGeom>
            <a:avLst/>
            <a:gdLst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5862181"/>
              <a:gd name="connsiteY0" fmla="*/ 0 h 1753644"/>
              <a:gd name="connsiteX1" fmla="*/ 5862181 w 5862181"/>
              <a:gd name="connsiteY1" fmla="*/ 1753644 h 1753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862181" h="1753644">
                <a:moveTo>
                  <a:pt x="0" y="0"/>
                </a:moveTo>
                <a:cubicBezTo>
                  <a:pt x="2670131" y="73069"/>
                  <a:pt x="3098105" y="1743206"/>
                  <a:pt x="5862181" y="1753644"/>
                </a:cubicBezTo>
              </a:path>
            </a:pathLst>
          </a:custGeom>
          <a:solidFill>
            <a:schemeClr val="tx2"/>
          </a:solidFill>
          <a:ln w="177800">
            <a:gradFill>
              <a:gsLst>
                <a:gs pos="0">
                  <a:schemeClr val="tx2">
                    <a:lumMod val="75000"/>
                  </a:schemeClr>
                </a:gs>
                <a:gs pos="18000">
                  <a:schemeClr val="tx2"/>
                </a:gs>
                <a:gs pos="83000">
                  <a:schemeClr val="tx2"/>
                </a:gs>
                <a:gs pos="100000">
                  <a:schemeClr val="tx2">
                    <a:lumMod val="75000"/>
                  </a:schemeClr>
                </a:gs>
              </a:gsLst>
              <a:lin ang="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89" name="Freeform 17">
            <a:extLst>
              <a:ext uri="{FF2B5EF4-FFF2-40B4-BE49-F238E27FC236}">
                <a16:creationId xmlns:a16="http://schemas.microsoft.com/office/drawing/2014/main" id="{A6A9EB8D-81C1-4FEE-A804-6E5AEE95B214}"/>
              </a:ext>
            </a:extLst>
          </p:cNvPr>
          <p:cNvSpPr/>
          <p:nvPr/>
        </p:nvSpPr>
        <p:spPr>
          <a:xfrm flipV="1">
            <a:off x="8788507" y="3687071"/>
            <a:ext cx="1670766" cy="1595057"/>
          </a:xfrm>
          <a:custGeom>
            <a:avLst/>
            <a:gdLst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5862181"/>
              <a:gd name="connsiteY0" fmla="*/ 0 h 1753644"/>
              <a:gd name="connsiteX1" fmla="*/ 5862181 w 5862181"/>
              <a:gd name="connsiteY1" fmla="*/ 1753644 h 1753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862181" h="1753644">
                <a:moveTo>
                  <a:pt x="0" y="0"/>
                </a:moveTo>
                <a:cubicBezTo>
                  <a:pt x="2670131" y="73069"/>
                  <a:pt x="3098105" y="1743206"/>
                  <a:pt x="5862181" y="1753644"/>
                </a:cubicBezTo>
              </a:path>
            </a:pathLst>
          </a:custGeom>
          <a:solidFill>
            <a:schemeClr val="accent6"/>
          </a:solidFill>
          <a:ln w="88900">
            <a:gradFill>
              <a:gsLst>
                <a:gs pos="0">
                  <a:schemeClr val="tx2">
                    <a:lumMod val="75000"/>
                  </a:schemeClr>
                </a:gs>
                <a:gs pos="15000">
                  <a:schemeClr val="tx2"/>
                </a:gs>
                <a:gs pos="95000">
                  <a:schemeClr val="tx2"/>
                </a:gs>
                <a:gs pos="100000">
                  <a:schemeClr val="tx2">
                    <a:lumMod val="75000"/>
                  </a:schemeClr>
                </a:gs>
              </a:gsLst>
              <a:lin ang="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90" name="Freeform 18">
            <a:extLst>
              <a:ext uri="{FF2B5EF4-FFF2-40B4-BE49-F238E27FC236}">
                <a16:creationId xmlns:a16="http://schemas.microsoft.com/office/drawing/2014/main" id="{22D30BBC-889C-475A-844D-FBFE4B4EC347}"/>
              </a:ext>
            </a:extLst>
          </p:cNvPr>
          <p:cNvSpPr/>
          <p:nvPr/>
        </p:nvSpPr>
        <p:spPr>
          <a:xfrm flipV="1">
            <a:off x="8845886" y="2598927"/>
            <a:ext cx="1488356" cy="2052393"/>
          </a:xfrm>
          <a:custGeom>
            <a:avLst/>
            <a:gdLst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951372"/>
              <a:gd name="connsiteX1" fmla="*/ 4991622 w 7484302"/>
              <a:gd name="connsiteY1" fmla="*/ 1772433 h 1951372"/>
              <a:gd name="connsiteX2" fmla="*/ 7484302 w 7484302"/>
              <a:gd name="connsiteY2" fmla="*/ 1797485 h 1951372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7484302"/>
              <a:gd name="connsiteY0" fmla="*/ 0 h 1797485"/>
              <a:gd name="connsiteX1" fmla="*/ 7484302 w 7484302"/>
              <a:gd name="connsiteY1" fmla="*/ 1797485 h 1797485"/>
              <a:gd name="connsiteX0" fmla="*/ 0 w 5862181"/>
              <a:gd name="connsiteY0" fmla="*/ 0 h 1753644"/>
              <a:gd name="connsiteX1" fmla="*/ 5862181 w 5862181"/>
              <a:gd name="connsiteY1" fmla="*/ 1753644 h 1753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862181" h="1753644">
                <a:moveTo>
                  <a:pt x="0" y="0"/>
                </a:moveTo>
                <a:cubicBezTo>
                  <a:pt x="2670131" y="73069"/>
                  <a:pt x="3098105" y="1743206"/>
                  <a:pt x="5862181" y="1753644"/>
                </a:cubicBezTo>
              </a:path>
            </a:pathLst>
          </a:custGeom>
          <a:noFill/>
          <a:ln w="88900">
            <a:gradFill>
              <a:gsLst>
                <a:gs pos="0">
                  <a:schemeClr val="tx2">
                    <a:lumMod val="75000"/>
                  </a:schemeClr>
                </a:gs>
                <a:gs pos="15000">
                  <a:schemeClr val="tx2"/>
                </a:gs>
                <a:gs pos="91000">
                  <a:schemeClr val="tx2"/>
                </a:gs>
                <a:gs pos="100000">
                  <a:schemeClr val="tx2">
                    <a:lumMod val="75000"/>
                  </a:schemeClr>
                </a:gs>
              </a:gsLst>
              <a:lin ang="0" scaled="0"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94" name="Oval 44">
            <a:extLst>
              <a:ext uri="{FF2B5EF4-FFF2-40B4-BE49-F238E27FC236}">
                <a16:creationId xmlns:a16="http://schemas.microsoft.com/office/drawing/2014/main" id="{24A8B1D1-47A6-4D87-A3F9-5D02F46DAD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5570" y="2041006"/>
            <a:ext cx="650316" cy="503960"/>
          </a:xfrm>
          <a:prstGeom prst="ellipse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6.2</a:t>
            </a:r>
          </a:p>
        </p:txBody>
      </p:sp>
      <p:sp>
        <p:nvSpPr>
          <p:cNvPr id="195" name="Oval 43">
            <a:extLst>
              <a:ext uri="{FF2B5EF4-FFF2-40B4-BE49-F238E27FC236}">
                <a16:creationId xmlns:a16="http://schemas.microsoft.com/office/drawing/2014/main" id="{E16916FC-4AA1-462B-B54D-C6980644C4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3059" y="862437"/>
            <a:ext cx="649819" cy="503960"/>
          </a:xfrm>
          <a:prstGeom prst="ellipse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6.1</a:t>
            </a:r>
          </a:p>
        </p:txBody>
      </p:sp>
      <p:sp>
        <p:nvSpPr>
          <p:cNvPr id="196" name="Oval 42">
            <a:extLst>
              <a:ext uri="{FF2B5EF4-FFF2-40B4-BE49-F238E27FC236}">
                <a16:creationId xmlns:a16="http://schemas.microsoft.com/office/drawing/2014/main" id="{7A87AD27-05EA-4B0C-8707-96C9C19F91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50044" y="5052380"/>
            <a:ext cx="647820" cy="503958"/>
          </a:xfrm>
          <a:prstGeom prst="ellipse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6.6</a:t>
            </a:r>
          </a:p>
        </p:txBody>
      </p:sp>
      <p:sp>
        <p:nvSpPr>
          <p:cNvPr id="206" name="Oval 27">
            <a:extLst>
              <a:ext uri="{FF2B5EF4-FFF2-40B4-BE49-F238E27FC236}">
                <a16:creationId xmlns:a16="http://schemas.microsoft.com/office/drawing/2014/main" id="{D91C773D-3BBC-4EF4-A960-AE92823EA769}"/>
              </a:ext>
            </a:extLst>
          </p:cNvPr>
          <p:cNvSpPr/>
          <p:nvPr/>
        </p:nvSpPr>
        <p:spPr>
          <a:xfrm>
            <a:off x="10322717" y="2022792"/>
            <a:ext cx="1808297" cy="1808296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-27" normalizeH="0" baseline="0" noProof="0">
              <a:ln>
                <a:noFill/>
              </a:ln>
              <a:solidFill>
                <a:srgbClr val="2B2B2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grpSp>
        <p:nvGrpSpPr>
          <p:cNvPr id="207" name="Group 60">
            <a:extLst>
              <a:ext uri="{FF2B5EF4-FFF2-40B4-BE49-F238E27FC236}">
                <a16:creationId xmlns:a16="http://schemas.microsoft.com/office/drawing/2014/main" id="{4ABC1D80-85D3-4D59-9F36-A2B9304DE8AF}"/>
              </a:ext>
            </a:extLst>
          </p:cNvPr>
          <p:cNvGrpSpPr/>
          <p:nvPr/>
        </p:nvGrpSpPr>
        <p:grpSpPr>
          <a:xfrm>
            <a:off x="10322524" y="1962233"/>
            <a:ext cx="1651867" cy="1724839"/>
            <a:chOff x="1389063" y="1182688"/>
            <a:chExt cx="2940050" cy="3044825"/>
          </a:xfrm>
          <a:solidFill>
            <a:schemeClr val="tx1">
              <a:alpha val="20000"/>
            </a:schemeClr>
          </a:solidFill>
        </p:grpSpPr>
        <p:sp>
          <p:nvSpPr>
            <p:cNvPr id="208" name="Freeform 5">
              <a:extLst>
                <a:ext uri="{FF2B5EF4-FFF2-40B4-BE49-F238E27FC236}">
                  <a16:creationId xmlns:a16="http://schemas.microsoft.com/office/drawing/2014/main" id="{25078339-79B1-4A2C-950A-A1661C7F16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5826" y="4194175"/>
              <a:ext cx="6350" cy="3175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2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2"/>
                  </a:lnTo>
                  <a:cubicBezTo>
                    <a:pt x="2" y="1"/>
                    <a:pt x="1" y="0"/>
                    <a:pt x="0" y="0"/>
                  </a:cubicBezTo>
                  <a:cubicBezTo>
                    <a:pt x="1" y="0"/>
                    <a:pt x="2" y="1"/>
                    <a:pt x="3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09" name="Freeform 6">
              <a:extLst>
                <a:ext uri="{FF2B5EF4-FFF2-40B4-BE49-F238E27FC236}">
                  <a16:creationId xmlns:a16="http://schemas.microsoft.com/office/drawing/2014/main" id="{C7D84DB3-CF3A-49A5-9498-D95461BB0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488" y="1585913"/>
              <a:ext cx="95250" cy="60325"/>
            </a:xfrm>
            <a:custGeom>
              <a:avLst/>
              <a:gdLst>
                <a:gd name="T0" fmla="*/ 8 w 53"/>
                <a:gd name="T1" fmla="*/ 7 h 33"/>
                <a:gd name="T2" fmla="*/ 8 w 53"/>
                <a:gd name="T3" fmla="*/ 7 h 33"/>
                <a:gd name="T4" fmla="*/ 16 w 53"/>
                <a:gd name="T5" fmla="*/ 24 h 33"/>
                <a:gd name="T6" fmla="*/ 30 w 53"/>
                <a:gd name="T7" fmla="*/ 25 h 33"/>
                <a:gd name="T8" fmla="*/ 42 w 53"/>
                <a:gd name="T9" fmla="*/ 27 h 33"/>
                <a:gd name="T10" fmla="*/ 53 w 53"/>
                <a:gd name="T11" fmla="*/ 32 h 33"/>
                <a:gd name="T12" fmla="*/ 30 w 53"/>
                <a:gd name="T13" fmla="*/ 10 h 33"/>
                <a:gd name="T14" fmla="*/ 16 w 53"/>
                <a:gd name="T15" fmla="*/ 6 h 33"/>
                <a:gd name="T16" fmla="*/ 8 w 53"/>
                <a:gd name="T17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3" h="33">
                  <a:moveTo>
                    <a:pt x="8" y="7"/>
                  </a:moveTo>
                  <a:lnTo>
                    <a:pt x="8" y="7"/>
                  </a:lnTo>
                  <a:cubicBezTo>
                    <a:pt x="16" y="13"/>
                    <a:pt x="14" y="16"/>
                    <a:pt x="16" y="24"/>
                  </a:cubicBezTo>
                  <a:cubicBezTo>
                    <a:pt x="18" y="33"/>
                    <a:pt x="28" y="26"/>
                    <a:pt x="30" y="25"/>
                  </a:cubicBezTo>
                  <a:cubicBezTo>
                    <a:pt x="32" y="23"/>
                    <a:pt x="32" y="19"/>
                    <a:pt x="42" y="27"/>
                  </a:cubicBezTo>
                  <a:cubicBezTo>
                    <a:pt x="47" y="31"/>
                    <a:pt x="50" y="32"/>
                    <a:pt x="53" y="32"/>
                  </a:cubicBezTo>
                  <a:cubicBezTo>
                    <a:pt x="45" y="24"/>
                    <a:pt x="37" y="17"/>
                    <a:pt x="30" y="10"/>
                  </a:cubicBezTo>
                  <a:cubicBezTo>
                    <a:pt x="25" y="9"/>
                    <a:pt x="20" y="7"/>
                    <a:pt x="16" y="6"/>
                  </a:cubicBezTo>
                  <a:cubicBezTo>
                    <a:pt x="6" y="1"/>
                    <a:pt x="0" y="0"/>
                    <a:pt x="8" y="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10" name="Freeform 7">
              <a:extLst>
                <a:ext uri="{FF2B5EF4-FFF2-40B4-BE49-F238E27FC236}">
                  <a16:creationId xmlns:a16="http://schemas.microsoft.com/office/drawing/2014/main" id="{009DAC13-3B80-4163-BFE2-7E758AD0C9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451" y="1666875"/>
              <a:ext cx="52388" cy="57150"/>
            </a:xfrm>
            <a:custGeom>
              <a:avLst/>
              <a:gdLst>
                <a:gd name="T0" fmla="*/ 26 w 29"/>
                <a:gd name="T1" fmla="*/ 25 h 32"/>
                <a:gd name="T2" fmla="*/ 26 w 29"/>
                <a:gd name="T3" fmla="*/ 25 h 32"/>
                <a:gd name="T4" fmla="*/ 2 w 29"/>
                <a:gd name="T5" fmla="*/ 13 h 32"/>
                <a:gd name="T6" fmla="*/ 26 w 29"/>
                <a:gd name="T7" fmla="*/ 2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32">
                  <a:moveTo>
                    <a:pt x="26" y="25"/>
                  </a:moveTo>
                  <a:lnTo>
                    <a:pt x="26" y="25"/>
                  </a:lnTo>
                  <a:cubicBezTo>
                    <a:pt x="29" y="19"/>
                    <a:pt x="4" y="0"/>
                    <a:pt x="2" y="13"/>
                  </a:cubicBezTo>
                  <a:cubicBezTo>
                    <a:pt x="0" y="22"/>
                    <a:pt x="23" y="32"/>
                    <a:pt x="26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11" name="Freeform 8">
              <a:extLst>
                <a:ext uri="{FF2B5EF4-FFF2-40B4-BE49-F238E27FC236}">
                  <a16:creationId xmlns:a16="http://schemas.microsoft.com/office/drawing/2014/main" id="{2EEBD9B0-DFE8-4198-9FA1-EABDAC1CE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9063" y="2463800"/>
              <a:ext cx="58738" cy="123825"/>
            </a:xfrm>
            <a:custGeom>
              <a:avLst/>
              <a:gdLst>
                <a:gd name="T0" fmla="*/ 13 w 33"/>
                <a:gd name="T1" fmla="*/ 49 h 69"/>
                <a:gd name="T2" fmla="*/ 13 w 33"/>
                <a:gd name="T3" fmla="*/ 49 h 69"/>
                <a:gd name="T4" fmla="*/ 27 w 33"/>
                <a:gd name="T5" fmla="*/ 60 h 69"/>
                <a:gd name="T6" fmla="*/ 16 w 33"/>
                <a:gd name="T7" fmla="*/ 34 h 69"/>
                <a:gd name="T8" fmla="*/ 8 w 33"/>
                <a:gd name="T9" fmla="*/ 6 h 69"/>
                <a:gd name="T10" fmla="*/ 4 w 33"/>
                <a:gd name="T11" fmla="*/ 0 h 69"/>
                <a:gd name="T12" fmla="*/ 0 w 33"/>
                <a:gd name="T13" fmla="*/ 24 h 69"/>
                <a:gd name="T14" fmla="*/ 6 w 33"/>
                <a:gd name="T15" fmla="*/ 40 h 69"/>
                <a:gd name="T16" fmla="*/ 13 w 33"/>
                <a:gd name="T17" fmla="*/ 4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69">
                  <a:moveTo>
                    <a:pt x="13" y="49"/>
                  </a:moveTo>
                  <a:lnTo>
                    <a:pt x="13" y="49"/>
                  </a:lnTo>
                  <a:cubicBezTo>
                    <a:pt x="16" y="50"/>
                    <a:pt x="21" y="69"/>
                    <a:pt x="27" y="60"/>
                  </a:cubicBezTo>
                  <a:cubicBezTo>
                    <a:pt x="33" y="51"/>
                    <a:pt x="20" y="39"/>
                    <a:pt x="16" y="34"/>
                  </a:cubicBezTo>
                  <a:cubicBezTo>
                    <a:pt x="13" y="29"/>
                    <a:pt x="16" y="17"/>
                    <a:pt x="8" y="6"/>
                  </a:cubicBezTo>
                  <a:cubicBezTo>
                    <a:pt x="6" y="4"/>
                    <a:pt x="5" y="2"/>
                    <a:pt x="4" y="0"/>
                  </a:cubicBezTo>
                  <a:cubicBezTo>
                    <a:pt x="2" y="8"/>
                    <a:pt x="1" y="16"/>
                    <a:pt x="0" y="24"/>
                  </a:cubicBezTo>
                  <a:cubicBezTo>
                    <a:pt x="3" y="30"/>
                    <a:pt x="7" y="35"/>
                    <a:pt x="6" y="40"/>
                  </a:cubicBezTo>
                  <a:cubicBezTo>
                    <a:pt x="5" y="46"/>
                    <a:pt x="11" y="48"/>
                    <a:pt x="13" y="4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12" name="Freeform 9">
              <a:extLst>
                <a:ext uri="{FF2B5EF4-FFF2-40B4-BE49-F238E27FC236}">
                  <a16:creationId xmlns:a16="http://schemas.microsoft.com/office/drawing/2014/main" id="{02677B98-D8F9-4657-A966-A793278AB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5001" y="1539875"/>
              <a:ext cx="63500" cy="42863"/>
            </a:xfrm>
            <a:custGeom>
              <a:avLst/>
              <a:gdLst>
                <a:gd name="T0" fmla="*/ 5 w 35"/>
                <a:gd name="T1" fmla="*/ 24 h 24"/>
                <a:gd name="T2" fmla="*/ 5 w 35"/>
                <a:gd name="T3" fmla="*/ 24 h 24"/>
                <a:gd name="T4" fmla="*/ 18 w 35"/>
                <a:gd name="T5" fmla="*/ 18 h 24"/>
                <a:gd name="T6" fmla="*/ 33 w 35"/>
                <a:gd name="T7" fmla="*/ 6 h 24"/>
                <a:gd name="T8" fmla="*/ 28 w 35"/>
                <a:gd name="T9" fmla="*/ 0 h 24"/>
                <a:gd name="T10" fmla="*/ 0 w 35"/>
                <a:gd name="T11" fmla="*/ 24 h 24"/>
                <a:gd name="T12" fmla="*/ 5 w 35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4">
                  <a:moveTo>
                    <a:pt x="5" y="24"/>
                  </a:moveTo>
                  <a:lnTo>
                    <a:pt x="5" y="24"/>
                  </a:lnTo>
                  <a:cubicBezTo>
                    <a:pt x="5" y="24"/>
                    <a:pt x="15" y="20"/>
                    <a:pt x="18" y="18"/>
                  </a:cubicBezTo>
                  <a:cubicBezTo>
                    <a:pt x="21" y="17"/>
                    <a:pt x="35" y="14"/>
                    <a:pt x="33" y="6"/>
                  </a:cubicBezTo>
                  <a:cubicBezTo>
                    <a:pt x="33" y="3"/>
                    <a:pt x="30" y="1"/>
                    <a:pt x="28" y="0"/>
                  </a:cubicBezTo>
                  <a:cubicBezTo>
                    <a:pt x="19" y="7"/>
                    <a:pt x="9" y="15"/>
                    <a:pt x="0" y="24"/>
                  </a:cubicBezTo>
                  <a:cubicBezTo>
                    <a:pt x="3" y="24"/>
                    <a:pt x="5" y="24"/>
                    <a:pt x="5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13" name="Freeform 10">
              <a:extLst>
                <a:ext uri="{FF2B5EF4-FFF2-40B4-BE49-F238E27FC236}">
                  <a16:creationId xmlns:a16="http://schemas.microsoft.com/office/drawing/2014/main" id="{37248309-9FD2-4867-8887-A201A10932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5963" y="1449388"/>
              <a:ext cx="349250" cy="201613"/>
            </a:xfrm>
            <a:custGeom>
              <a:avLst/>
              <a:gdLst>
                <a:gd name="T0" fmla="*/ 3 w 195"/>
                <a:gd name="T1" fmla="*/ 36 h 112"/>
                <a:gd name="T2" fmla="*/ 3 w 195"/>
                <a:gd name="T3" fmla="*/ 36 h 112"/>
                <a:gd name="T4" fmla="*/ 11 w 195"/>
                <a:gd name="T5" fmla="*/ 33 h 112"/>
                <a:gd name="T6" fmla="*/ 16 w 195"/>
                <a:gd name="T7" fmla="*/ 28 h 112"/>
                <a:gd name="T8" fmla="*/ 22 w 195"/>
                <a:gd name="T9" fmla="*/ 36 h 112"/>
                <a:gd name="T10" fmla="*/ 35 w 195"/>
                <a:gd name="T11" fmla="*/ 38 h 112"/>
                <a:gd name="T12" fmla="*/ 28 w 195"/>
                <a:gd name="T13" fmla="*/ 53 h 112"/>
                <a:gd name="T14" fmla="*/ 25 w 195"/>
                <a:gd name="T15" fmla="*/ 60 h 112"/>
                <a:gd name="T16" fmla="*/ 42 w 195"/>
                <a:gd name="T17" fmla="*/ 60 h 112"/>
                <a:gd name="T18" fmla="*/ 52 w 195"/>
                <a:gd name="T19" fmla="*/ 47 h 112"/>
                <a:gd name="T20" fmla="*/ 63 w 195"/>
                <a:gd name="T21" fmla="*/ 47 h 112"/>
                <a:gd name="T22" fmla="*/ 66 w 195"/>
                <a:gd name="T23" fmla="*/ 54 h 112"/>
                <a:gd name="T24" fmla="*/ 47 w 195"/>
                <a:gd name="T25" fmla="*/ 68 h 112"/>
                <a:gd name="T26" fmla="*/ 31 w 195"/>
                <a:gd name="T27" fmla="*/ 74 h 112"/>
                <a:gd name="T28" fmla="*/ 11 w 195"/>
                <a:gd name="T29" fmla="*/ 78 h 112"/>
                <a:gd name="T30" fmla="*/ 12 w 195"/>
                <a:gd name="T31" fmla="*/ 96 h 112"/>
                <a:gd name="T32" fmla="*/ 26 w 195"/>
                <a:gd name="T33" fmla="*/ 91 h 112"/>
                <a:gd name="T34" fmla="*/ 58 w 195"/>
                <a:gd name="T35" fmla="*/ 90 h 112"/>
                <a:gd name="T36" fmla="*/ 74 w 195"/>
                <a:gd name="T37" fmla="*/ 96 h 112"/>
                <a:gd name="T38" fmla="*/ 86 w 195"/>
                <a:gd name="T39" fmla="*/ 103 h 112"/>
                <a:gd name="T40" fmla="*/ 100 w 195"/>
                <a:gd name="T41" fmla="*/ 101 h 112"/>
                <a:gd name="T42" fmla="*/ 109 w 195"/>
                <a:gd name="T43" fmla="*/ 108 h 112"/>
                <a:gd name="T44" fmla="*/ 126 w 195"/>
                <a:gd name="T45" fmla="*/ 108 h 112"/>
                <a:gd name="T46" fmla="*/ 137 w 195"/>
                <a:gd name="T47" fmla="*/ 100 h 112"/>
                <a:gd name="T48" fmla="*/ 153 w 195"/>
                <a:gd name="T49" fmla="*/ 104 h 112"/>
                <a:gd name="T50" fmla="*/ 149 w 195"/>
                <a:gd name="T51" fmla="*/ 86 h 112"/>
                <a:gd name="T52" fmla="*/ 129 w 195"/>
                <a:gd name="T53" fmla="*/ 74 h 112"/>
                <a:gd name="T54" fmla="*/ 129 w 195"/>
                <a:gd name="T55" fmla="*/ 66 h 112"/>
                <a:gd name="T56" fmla="*/ 151 w 195"/>
                <a:gd name="T57" fmla="*/ 71 h 112"/>
                <a:gd name="T58" fmla="*/ 170 w 195"/>
                <a:gd name="T59" fmla="*/ 75 h 112"/>
                <a:gd name="T60" fmla="*/ 185 w 195"/>
                <a:gd name="T61" fmla="*/ 66 h 112"/>
                <a:gd name="T62" fmla="*/ 195 w 195"/>
                <a:gd name="T63" fmla="*/ 55 h 112"/>
                <a:gd name="T64" fmla="*/ 165 w 195"/>
                <a:gd name="T65" fmla="*/ 48 h 112"/>
                <a:gd name="T66" fmla="*/ 147 w 195"/>
                <a:gd name="T67" fmla="*/ 38 h 112"/>
                <a:gd name="T68" fmla="*/ 130 w 195"/>
                <a:gd name="T69" fmla="*/ 36 h 112"/>
                <a:gd name="T70" fmla="*/ 126 w 195"/>
                <a:gd name="T71" fmla="*/ 17 h 112"/>
                <a:gd name="T72" fmla="*/ 81 w 195"/>
                <a:gd name="T73" fmla="*/ 10 h 112"/>
                <a:gd name="T74" fmla="*/ 50 w 195"/>
                <a:gd name="T75" fmla="*/ 0 h 112"/>
                <a:gd name="T76" fmla="*/ 0 w 195"/>
                <a:gd name="T77" fmla="*/ 36 h 112"/>
                <a:gd name="T78" fmla="*/ 3 w 195"/>
                <a:gd name="T79" fmla="*/ 36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5" h="112">
                  <a:moveTo>
                    <a:pt x="3" y="36"/>
                  </a:moveTo>
                  <a:lnTo>
                    <a:pt x="3" y="36"/>
                  </a:lnTo>
                  <a:cubicBezTo>
                    <a:pt x="3" y="36"/>
                    <a:pt x="11" y="37"/>
                    <a:pt x="11" y="33"/>
                  </a:cubicBezTo>
                  <a:cubicBezTo>
                    <a:pt x="12" y="30"/>
                    <a:pt x="11" y="25"/>
                    <a:pt x="16" y="28"/>
                  </a:cubicBezTo>
                  <a:cubicBezTo>
                    <a:pt x="20" y="30"/>
                    <a:pt x="14" y="38"/>
                    <a:pt x="22" y="36"/>
                  </a:cubicBezTo>
                  <a:cubicBezTo>
                    <a:pt x="30" y="34"/>
                    <a:pt x="32" y="35"/>
                    <a:pt x="35" y="38"/>
                  </a:cubicBezTo>
                  <a:cubicBezTo>
                    <a:pt x="39" y="40"/>
                    <a:pt x="33" y="51"/>
                    <a:pt x="28" y="53"/>
                  </a:cubicBezTo>
                  <a:cubicBezTo>
                    <a:pt x="24" y="56"/>
                    <a:pt x="16" y="60"/>
                    <a:pt x="25" y="60"/>
                  </a:cubicBezTo>
                  <a:cubicBezTo>
                    <a:pt x="35" y="60"/>
                    <a:pt x="42" y="60"/>
                    <a:pt x="42" y="60"/>
                  </a:cubicBezTo>
                  <a:cubicBezTo>
                    <a:pt x="42" y="60"/>
                    <a:pt x="49" y="53"/>
                    <a:pt x="52" y="47"/>
                  </a:cubicBezTo>
                  <a:cubicBezTo>
                    <a:pt x="56" y="42"/>
                    <a:pt x="59" y="45"/>
                    <a:pt x="63" y="47"/>
                  </a:cubicBezTo>
                  <a:cubicBezTo>
                    <a:pt x="66" y="48"/>
                    <a:pt x="79" y="50"/>
                    <a:pt x="66" y="54"/>
                  </a:cubicBezTo>
                  <a:cubicBezTo>
                    <a:pt x="53" y="59"/>
                    <a:pt x="50" y="64"/>
                    <a:pt x="47" y="68"/>
                  </a:cubicBezTo>
                  <a:cubicBezTo>
                    <a:pt x="43" y="73"/>
                    <a:pt x="42" y="76"/>
                    <a:pt x="31" y="74"/>
                  </a:cubicBezTo>
                  <a:cubicBezTo>
                    <a:pt x="20" y="72"/>
                    <a:pt x="14" y="74"/>
                    <a:pt x="11" y="78"/>
                  </a:cubicBezTo>
                  <a:cubicBezTo>
                    <a:pt x="8" y="83"/>
                    <a:pt x="7" y="98"/>
                    <a:pt x="12" y="96"/>
                  </a:cubicBezTo>
                  <a:cubicBezTo>
                    <a:pt x="17" y="94"/>
                    <a:pt x="21" y="93"/>
                    <a:pt x="26" y="91"/>
                  </a:cubicBezTo>
                  <a:cubicBezTo>
                    <a:pt x="32" y="89"/>
                    <a:pt x="53" y="91"/>
                    <a:pt x="58" y="90"/>
                  </a:cubicBezTo>
                  <a:cubicBezTo>
                    <a:pt x="63" y="89"/>
                    <a:pt x="71" y="98"/>
                    <a:pt x="74" y="96"/>
                  </a:cubicBezTo>
                  <a:cubicBezTo>
                    <a:pt x="77" y="94"/>
                    <a:pt x="82" y="100"/>
                    <a:pt x="86" y="103"/>
                  </a:cubicBezTo>
                  <a:cubicBezTo>
                    <a:pt x="91" y="107"/>
                    <a:pt x="91" y="94"/>
                    <a:pt x="100" y="101"/>
                  </a:cubicBezTo>
                  <a:cubicBezTo>
                    <a:pt x="109" y="108"/>
                    <a:pt x="104" y="109"/>
                    <a:pt x="109" y="108"/>
                  </a:cubicBezTo>
                  <a:cubicBezTo>
                    <a:pt x="115" y="108"/>
                    <a:pt x="126" y="108"/>
                    <a:pt x="126" y="108"/>
                  </a:cubicBezTo>
                  <a:cubicBezTo>
                    <a:pt x="126" y="108"/>
                    <a:pt x="128" y="99"/>
                    <a:pt x="137" y="100"/>
                  </a:cubicBezTo>
                  <a:cubicBezTo>
                    <a:pt x="146" y="102"/>
                    <a:pt x="153" y="112"/>
                    <a:pt x="153" y="104"/>
                  </a:cubicBezTo>
                  <a:cubicBezTo>
                    <a:pt x="153" y="97"/>
                    <a:pt x="155" y="91"/>
                    <a:pt x="149" y="86"/>
                  </a:cubicBezTo>
                  <a:cubicBezTo>
                    <a:pt x="142" y="80"/>
                    <a:pt x="131" y="77"/>
                    <a:pt x="129" y="74"/>
                  </a:cubicBezTo>
                  <a:cubicBezTo>
                    <a:pt x="128" y="72"/>
                    <a:pt x="126" y="68"/>
                    <a:pt x="129" y="66"/>
                  </a:cubicBezTo>
                  <a:cubicBezTo>
                    <a:pt x="132" y="64"/>
                    <a:pt x="144" y="66"/>
                    <a:pt x="151" y="71"/>
                  </a:cubicBezTo>
                  <a:cubicBezTo>
                    <a:pt x="158" y="75"/>
                    <a:pt x="164" y="79"/>
                    <a:pt x="170" y="75"/>
                  </a:cubicBezTo>
                  <a:cubicBezTo>
                    <a:pt x="175" y="71"/>
                    <a:pt x="182" y="69"/>
                    <a:pt x="185" y="66"/>
                  </a:cubicBezTo>
                  <a:cubicBezTo>
                    <a:pt x="188" y="63"/>
                    <a:pt x="195" y="55"/>
                    <a:pt x="195" y="55"/>
                  </a:cubicBezTo>
                  <a:cubicBezTo>
                    <a:pt x="195" y="55"/>
                    <a:pt x="168" y="52"/>
                    <a:pt x="165" y="48"/>
                  </a:cubicBezTo>
                  <a:cubicBezTo>
                    <a:pt x="162" y="44"/>
                    <a:pt x="150" y="38"/>
                    <a:pt x="147" y="38"/>
                  </a:cubicBezTo>
                  <a:cubicBezTo>
                    <a:pt x="143" y="38"/>
                    <a:pt x="133" y="45"/>
                    <a:pt x="130" y="36"/>
                  </a:cubicBezTo>
                  <a:cubicBezTo>
                    <a:pt x="128" y="28"/>
                    <a:pt x="129" y="17"/>
                    <a:pt x="126" y="17"/>
                  </a:cubicBezTo>
                  <a:cubicBezTo>
                    <a:pt x="122" y="16"/>
                    <a:pt x="86" y="13"/>
                    <a:pt x="81" y="10"/>
                  </a:cubicBezTo>
                  <a:cubicBezTo>
                    <a:pt x="76" y="8"/>
                    <a:pt x="57" y="4"/>
                    <a:pt x="50" y="0"/>
                  </a:cubicBezTo>
                  <a:cubicBezTo>
                    <a:pt x="33" y="11"/>
                    <a:pt x="16" y="24"/>
                    <a:pt x="0" y="36"/>
                  </a:cubicBezTo>
                  <a:cubicBezTo>
                    <a:pt x="2" y="36"/>
                    <a:pt x="3" y="36"/>
                    <a:pt x="3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14" name="Freeform 11">
              <a:extLst>
                <a:ext uri="{FF2B5EF4-FFF2-40B4-BE49-F238E27FC236}">
                  <a16:creationId xmlns:a16="http://schemas.microsoft.com/office/drawing/2014/main" id="{5856AE87-F6F0-4129-A922-A5FBD081AA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01763" y="1643063"/>
              <a:ext cx="1446213" cy="2584450"/>
            </a:xfrm>
            <a:custGeom>
              <a:avLst/>
              <a:gdLst>
                <a:gd name="T0" fmla="*/ 248 w 809"/>
                <a:gd name="T1" fmla="*/ 185 h 1440"/>
                <a:gd name="T2" fmla="*/ 206 w 809"/>
                <a:gd name="T3" fmla="*/ 173 h 1440"/>
                <a:gd name="T4" fmla="*/ 285 w 809"/>
                <a:gd name="T5" fmla="*/ 225 h 1440"/>
                <a:gd name="T6" fmla="*/ 234 w 809"/>
                <a:gd name="T7" fmla="*/ 246 h 1440"/>
                <a:gd name="T8" fmla="*/ 269 w 809"/>
                <a:gd name="T9" fmla="*/ 196 h 1440"/>
                <a:gd name="T10" fmla="*/ 326 w 809"/>
                <a:gd name="T11" fmla="*/ 230 h 1440"/>
                <a:gd name="T12" fmla="*/ 292 w 809"/>
                <a:gd name="T13" fmla="*/ 243 h 1440"/>
                <a:gd name="T14" fmla="*/ 458 w 809"/>
                <a:gd name="T15" fmla="*/ 1427 h 1440"/>
                <a:gd name="T16" fmla="*/ 494 w 809"/>
                <a:gd name="T17" fmla="*/ 1429 h 1440"/>
                <a:gd name="T18" fmla="*/ 475 w 809"/>
                <a:gd name="T19" fmla="*/ 1369 h 1440"/>
                <a:gd name="T20" fmla="*/ 486 w 809"/>
                <a:gd name="T21" fmla="*/ 1316 h 1440"/>
                <a:gd name="T22" fmla="*/ 570 w 809"/>
                <a:gd name="T23" fmla="*/ 1282 h 1440"/>
                <a:gd name="T24" fmla="*/ 600 w 809"/>
                <a:gd name="T25" fmla="*/ 1258 h 1440"/>
                <a:gd name="T26" fmla="*/ 655 w 809"/>
                <a:gd name="T27" fmla="*/ 1158 h 1440"/>
                <a:gd name="T28" fmla="*/ 754 w 809"/>
                <a:gd name="T29" fmla="*/ 1078 h 1440"/>
                <a:gd name="T30" fmla="*/ 789 w 809"/>
                <a:gd name="T31" fmla="*/ 900 h 1440"/>
                <a:gd name="T32" fmla="*/ 655 w 809"/>
                <a:gd name="T33" fmla="*/ 842 h 1440"/>
                <a:gd name="T34" fmla="*/ 606 w 809"/>
                <a:gd name="T35" fmla="*/ 844 h 1440"/>
                <a:gd name="T36" fmla="*/ 557 w 809"/>
                <a:gd name="T37" fmla="*/ 740 h 1440"/>
                <a:gd name="T38" fmla="*/ 490 w 809"/>
                <a:gd name="T39" fmla="*/ 703 h 1440"/>
                <a:gd name="T40" fmla="*/ 444 w 809"/>
                <a:gd name="T41" fmla="*/ 694 h 1440"/>
                <a:gd name="T42" fmla="*/ 375 w 809"/>
                <a:gd name="T43" fmla="*/ 705 h 1440"/>
                <a:gd name="T44" fmla="*/ 319 w 809"/>
                <a:gd name="T45" fmla="*/ 705 h 1440"/>
                <a:gd name="T46" fmla="*/ 248 w 809"/>
                <a:gd name="T47" fmla="*/ 670 h 1440"/>
                <a:gd name="T48" fmla="*/ 203 w 809"/>
                <a:gd name="T49" fmla="*/ 595 h 1440"/>
                <a:gd name="T50" fmla="*/ 169 w 809"/>
                <a:gd name="T51" fmla="*/ 567 h 1440"/>
                <a:gd name="T52" fmla="*/ 116 w 809"/>
                <a:gd name="T53" fmla="*/ 463 h 1440"/>
                <a:gd name="T54" fmla="*/ 190 w 809"/>
                <a:gd name="T55" fmla="*/ 424 h 1440"/>
                <a:gd name="T56" fmla="*/ 264 w 809"/>
                <a:gd name="T57" fmla="*/ 462 h 1440"/>
                <a:gd name="T58" fmla="*/ 316 w 809"/>
                <a:gd name="T59" fmla="*/ 352 h 1440"/>
                <a:gd name="T60" fmla="*/ 353 w 809"/>
                <a:gd name="T61" fmla="*/ 283 h 1440"/>
                <a:gd name="T62" fmla="*/ 412 w 809"/>
                <a:gd name="T63" fmla="*/ 221 h 1440"/>
                <a:gd name="T64" fmla="*/ 491 w 809"/>
                <a:gd name="T65" fmla="*/ 213 h 1440"/>
                <a:gd name="T66" fmla="*/ 481 w 809"/>
                <a:gd name="T67" fmla="*/ 178 h 1440"/>
                <a:gd name="T68" fmla="*/ 421 w 809"/>
                <a:gd name="T69" fmla="*/ 168 h 1440"/>
                <a:gd name="T70" fmla="*/ 476 w 809"/>
                <a:gd name="T71" fmla="*/ 139 h 1440"/>
                <a:gd name="T72" fmla="*/ 543 w 809"/>
                <a:gd name="T73" fmla="*/ 120 h 1440"/>
                <a:gd name="T74" fmla="*/ 564 w 809"/>
                <a:gd name="T75" fmla="*/ 175 h 1440"/>
                <a:gd name="T76" fmla="*/ 570 w 809"/>
                <a:gd name="T77" fmla="*/ 142 h 1440"/>
                <a:gd name="T78" fmla="*/ 547 w 809"/>
                <a:gd name="T79" fmla="*/ 85 h 1440"/>
                <a:gd name="T80" fmla="*/ 460 w 809"/>
                <a:gd name="T81" fmla="*/ 28 h 1440"/>
                <a:gd name="T82" fmla="*/ 377 w 809"/>
                <a:gd name="T83" fmla="*/ 0 h 1440"/>
                <a:gd name="T84" fmla="*/ 343 w 809"/>
                <a:gd name="T85" fmla="*/ 64 h 1440"/>
                <a:gd name="T86" fmla="*/ 316 w 809"/>
                <a:gd name="T87" fmla="*/ 127 h 1440"/>
                <a:gd name="T88" fmla="*/ 283 w 809"/>
                <a:gd name="T89" fmla="*/ 95 h 1440"/>
                <a:gd name="T90" fmla="*/ 185 w 809"/>
                <a:gd name="T91" fmla="*/ 67 h 1440"/>
                <a:gd name="T92" fmla="*/ 47 w 809"/>
                <a:gd name="T93" fmla="*/ 536 h 1440"/>
                <a:gd name="T94" fmla="*/ 128 w 809"/>
                <a:gd name="T95" fmla="*/ 614 h 1440"/>
                <a:gd name="T96" fmla="*/ 206 w 809"/>
                <a:gd name="T97" fmla="*/ 646 h 1440"/>
                <a:gd name="T98" fmla="*/ 278 w 809"/>
                <a:gd name="T99" fmla="*/ 724 h 1440"/>
                <a:gd name="T100" fmla="*/ 307 w 809"/>
                <a:gd name="T101" fmla="*/ 791 h 1440"/>
                <a:gd name="T102" fmla="*/ 300 w 809"/>
                <a:gd name="T103" fmla="*/ 920 h 1440"/>
                <a:gd name="T104" fmla="*/ 404 w 809"/>
                <a:gd name="T105" fmla="*/ 1067 h 1440"/>
                <a:gd name="T106" fmla="*/ 401 w 809"/>
                <a:gd name="T107" fmla="*/ 1206 h 1440"/>
                <a:gd name="T108" fmla="*/ 400 w 809"/>
                <a:gd name="T109" fmla="*/ 1295 h 1440"/>
                <a:gd name="T110" fmla="*/ 399 w 809"/>
                <a:gd name="T111" fmla="*/ 1371 h 1440"/>
                <a:gd name="T112" fmla="*/ 422 w 809"/>
                <a:gd name="T113" fmla="*/ 1421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09" h="1440">
                  <a:moveTo>
                    <a:pt x="206" y="173"/>
                  </a:moveTo>
                  <a:lnTo>
                    <a:pt x="206" y="173"/>
                  </a:lnTo>
                  <a:cubicBezTo>
                    <a:pt x="217" y="167"/>
                    <a:pt x="230" y="151"/>
                    <a:pt x="235" y="157"/>
                  </a:cubicBezTo>
                  <a:lnTo>
                    <a:pt x="254" y="170"/>
                  </a:lnTo>
                  <a:cubicBezTo>
                    <a:pt x="260" y="171"/>
                    <a:pt x="251" y="184"/>
                    <a:pt x="248" y="185"/>
                  </a:cubicBezTo>
                  <a:cubicBezTo>
                    <a:pt x="246" y="186"/>
                    <a:pt x="237" y="184"/>
                    <a:pt x="229" y="185"/>
                  </a:cubicBezTo>
                  <a:cubicBezTo>
                    <a:pt x="222" y="185"/>
                    <a:pt x="224" y="179"/>
                    <a:pt x="220" y="180"/>
                  </a:cubicBezTo>
                  <a:cubicBezTo>
                    <a:pt x="217" y="182"/>
                    <a:pt x="209" y="184"/>
                    <a:pt x="204" y="188"/>
                  </a:cubicBezTo>
                  <a:cubicBezTo>
                    <a:pt x="199" y="192"/>
                    <a:pt x="191" y="192"/>
                    <a:pt x="191" y="186"/>
                  </a:cubicBezTo>
                  <a:cubicBezTo>
                    <a:pt x="192" y="178"/>
                    <a:pt x="195" y="179"/>
                    <a:pt x="206" y="173"/>
                  </a:cubicBezTo>
                  <a:close/>
                  <a:moveTo>
                    <a:pt x="290" y="195"/>
                  </a:moveTo>
                  <a:lnTo>
                    <a:pt x="290" y="195"/>
                  </a:lnTo>
                  <a:cubicBezTo>
                    <a:pt x="296" y="195"/>
                    <a:pt x="304" y="214"/>
                    <a:pt x="299" y="215"/>
                  </a:cubicBezTo>
                  <a:cubicBezTo>
                    <a:pt x="295" y="217"/>
                    <a:pt x="288" y="212"/>
                    <a:pt x="289" y="204"/>
                  </a:cubicBezTo>
                  <a:cubicBezTo>
                    <a:pt x="289" y="197"/>
                    <a:pt x="282" y="219"/>
                    <a:pt x="285" y="225"/>
                  </a:cubicBezTo>
                  <a:cubicBezTo>
                    <a:pt x="288" y="231"/>
                    <a:pt x="277" y="240"/>
                    <a:pt x="273" y="240"/>
                  </a:cubicBezTo>
                  <a:cubicBezTo>
                    <a:pt x="270" y="240"/>
                    <a:pt x="268" y="231"/>
                    <a:pt x="269" y="221"/>
                  </a:cubicBezTo>
                  <a:cubicBezTo>
                    <a:pt x="271" y="211"/>
                    <a:pt x="266" y="203"/>
                    <a:pt x="256" y="205"/>
                  </a:cubicBezTo>
                  <a:cubicBezTo>
                    <a:pt x="247" y="206"/>
                    <a:pt x="242" y="217"/>
                    <a:pt x="238" y="220"/>
                  </a:cubicBezTo>
                  <a:cubicBezTo>
                    <a:pt x="235" y="223"/>
                    <a:pt x="233" y="242"/>
                    <a:pt x="234" y="246"/>
                  </a:cubicBezTo>
                  <a:cubicBezTo>
                    <a:pt x="234" y="250"/>
                    <a:pt x="234" y="266"/>
                    <a:pt x="225" y="265"/>
                  </a:cubicBezTo>
                  <a:cubicBezTo>
                    <a:pt x="218" y="265"/>
                    <a:pt x="221" y="246"/>
                    <a:pt x="222" y="240"/>
                  </a:cubicBezTo>
                  <a:cubicBezTo>
                    <a:pt x="223" y="233"/>
                    <a:pt x="221" y="217"/>
                    <a:pt x="225" y="208"/>
                  </a:cubicBezTo>
                  <a:cubicBezTo>
                    <a:pt x="229" y="199"/>
                    <a:pt x="239" y="195"/>
                    <a:pt x="246" y="194"/>
                  </a:cubicBezTo>
                  <a:cubicBezTo>
                    <a:pt x="253" y="192"/>
                    <a:pt x="267" y="197"/>
                    <a:pt x="269" y="196"/>
                  </a:cubicBezTo>
                  <a:cubicBezTo>
                    <a:pt x="272" y="195"/>
                    <a:pt x="284" y="194"/>
                    <a:pt x="290" y="195"/>
                  </a:cubicBezTo>
                  <a:close/>
                  <a:moveTo>
                    <a:pt x="315" y="218"/>
                  </a:moveTo>
                  <a:lnTo>
                    <a:pt x="315" y="218"/>
                  </a:lnTo>
                  <a:cubicBezTo>
                    <a:pt x="317" y="220"/>
                    <a:pt x="336" y="213"/>
                    <a:pt x="340" y="218"/>
                  </a:cubicBezTo>
                  <a:cubicBezTo>
                    <a:pt x="343" y="224"/>
                    <a:pt x="336" y="225"/>
                    <a:pt x="326" y="230"/>
                  </a:cubicBezTo>
                  <a:cubicBezTo>
                    <a:pt x="317" y="235"/>
                    <a:pt x="315" y="234"/>
                    <a:pt x="311" y="240"/>
                  </a:cubicBezTo>
                  <a:cubicBezTo>
                    <a:pt x="307" y="245"/>
                    <a:pt x="295" y="248"/>
                    <a:pt x="290" y="255"/>
                  </a:cubicBezTo>
                  <a:cubicBezTo>
                    <a:pt x="284" y="262"/>
                    <a:pt x="274" y="267"/>
                    <a:pt x="273" y="262"/>
                  </a:cubicBezTo>
                  <a:cubicBezTo>
                    <a:pt x="271" y="255"/>
                    <a:pt x="274" y="259"/>
                    <a:pt x="275" y="255"/>
                  </a:cubicBezTo>
                  <a:cubicBezTo>
                    <a:pt x="276" y="252"/>
                    <a:pt x="292" y="243"/>
                    <a:pt x="292" y="243"/>
                  </a:cubicBezTo>
                  <a:cubicBezTo>
                    <a:pt x="292" y="243"/>
                    <a:pt x="312" y="216"/>
                    <a:pt x="315" y="218"/>
                  </a:cubicBezTo>
                  <a:close/>
                  <a:moveTo>
                    <a:pt x="445" y="1432"/>
                  </a:moveTo>
                  <a:lnTo>
                    <a:pt x="445" y="1432"/>
                  </a:lnTo>
                  <a:cubicBezTo>
                    <a:pt x="449" y="1432"/>
                    <a:pt x="452" y="1430"/>
                    <a:pt x="452" y="1423"/>
                  </a:cubicBezTo>
                  <a:cubicBezTo>
                    <a:pt x="452" y="1416"/>
                    <a:pt x="465" y="1422"/>
                    <a:pt x="458" y="1427"/>
                  </a:cubicBezTo>
                  <a:cubicBezTo>
                    <a:pt x="451" y="1432"/>
                    <a:pt x="448" y="1435"/>
                    <a:pt x="450" y="1435"/>
                  </a:cubicBezTo>
                  <a:cubicBezTo>
                    <a:pt x="453" y="1435"/>
                    <a:pt x="467" y="1440"/>
                    <a:pt x="473" y="1440"/>
                  </a:cubicBezTo>
                  <a:cubicBezTo>
                    <a:pt x="480" y="1440"/>
                    <a:pt x="493" y="1437"/>
                    <a:pt x="495" y="1437"/>
                  </a:cubicBezTo>
                  <a:cubicBezTo>
                    <a:pt x="498" y="1436"/>
                    <a:pt x="516" y="1434"/>
                    <a:pt x="517" y="1432"/>
                  </a:cubicBezTo>
                  <a:cubicBezTo>
                    <a:pt x="518" y="1431"/>
                    <a:pt x="502" y="1431"/>
                    <a:pt x="494" y="1429"/>
                  </a:cubicBezTo>
                  <a:cubicBezTo>
                    <a:pt x="486" y="1427"/>
                    <a:pt x="470" y="1418"/>
                    <a:pt x="467" y="1414"/>
                  </a:cubicBezTo>
                  <a:cubicBezTo>
                    <a:pt x="465" y="1410"/>
                    <a:pt x="463" y="1402"/>
                    <a:pt x="468" y="1399"/>
                  </a:cubicBezTo>
                  <a:cubicBezTo>
                    <a:pt x="474" y="1396"/>
                    <a:pt x="486" y="1387"/>
                    <a:pt x="489" y="1385"/>
                  </a:cubicBezTo>
                  <a:cubicBezTo>
                    <a:pt x="492" y="1383"/>
                    <a:pt x="495" y="1373"/>
                    <a:pt x="492" y="1372"/>
                  </a:cubicBezTo>
                  <a:cubicBezTo>
                    <a:pt x="490" y="1370"/>
                    <a:pt x="477" y="1371"/>
                    <a:pt x="475" y="1369"/>
                  </a:cubicBezTo>
                  <a:cubicBezTo>
                    <a:pt x="473" y="1367"/>
                    <a:pt x="472" y="1364"/>
                    <a:pt x="480" y="1359"/>
                  </a:cubicBezTo>
                  <a:cubicBezTo>
                    <a:pt x="487" y="1354"/>
                    <a:pt x="490" y="1346"/>
                    <a:pt x="494" y="1344"/>
                  </a:cubicBezTo>
                  <a:cubicBezTo>
                    <a:pt x="497" y="1342"/>
                    <a:pt x="503" y="1338"/>
                    <a:pt x="505" y="1332"/>
                  </a:cubicBezTo>
                  <a:cubicBezTo>
                    <a:pt x="506" y="1327"/>
                    <a:pt x="502" y="1330"/>
                    <a:pt x="496" y="1330"/>
                  </a:cubicBezTo>
                  <a:cubicBezTo>
                    <a:pt x="491" y="1329"/>
                    <a:pt x="487" y="1321"/>
                    <a:pt x="486" y="1316"/>
                  </a:cubicBezTo>
                  <a:cubicBezTo>
                    <a:pt x="486" y="1312"/>
                    <a:pt x="500" y="1319"/>
                    <a:pt x="510" y="1321"/>
                  </a:cubicBezTo>
                  <a:cubicBezTo>
                    <a:pt x="520" y="1323"/>
                    <a:pt x="515" y="1317"/>
                    <a:pt x="513" y="1312"/>
                  </a:cubicBezTo>
                  <a:cubicBezTo>
                    <a:pt x="511" y="1307"/>
                    <a:pt x="513" y="1299"/>
                    <a:pt x="519" y="1301"/>
                  </a:cubicBezTo>
                  <a:cubicBezTo>
                    <a:pt x="524" y="1304"/>
                    <a:pt x="552" y="1302"/>
                    <a:pt x="555" y="1301"/>
                  </a:cubicBezTo>
                  <a:cubicBezTo>
                    <a:pt x="559" y="1301"/>
                    <a:pt x="567" y="1286"/>
                    <a:pt x="570" y="1282"/>
                  </a:cubicBezTo>
                  <a:cubicBezTo>
                    <a:pt x="573" y="1278"/>
                    <a:pt x="574" y="1273"/>
                    <a:pt x="569" y="1271"/>
                  </a:cubicBezTo>
                  <a:cubicBezTo>
                    <a:pt x="564" y="1268"/>
                    <a:pt x="550" y="1257"/>
                    <a:pt x="548" y="1254"/>
                  </a:cubicBezTo>
                  <a:cubicBezTo>
                    <a:pt x="546" y="1252"/>
                    <a:pt x="551" y="1236"/>
                    <a:pt x="552" y="1232"/>
                  </a:cubicBezTo>
                  <a:cubicBezTo>
                    <a:pt x="554" y="1227"/>
                    <a:pt x="555" y="1258"/>
                    <a:pt x="568" y="1262"/>
                  </a:cubicBezTo>
                  <a:cubicBezTo>
                    <a:pt x="581" y="1266"/>
                    <a:pt x="589" y="1268"/>
                    <a:pt x="600" y="1258"/>
                  </a:cubicBezTo>
                  <a:cubicBezTo>
                    <a:pt x="611" y="1247"/>
                    <a:pt x="619" y="1240"/>
                    <a:pt x="620" y="1233"/>
                  </a:cubicBezTo>
                  <a:cubicBezTo>
                    <a:pt x="620" y="1226"/>
                    <a:pt x="622" y="1219"/>
                    <a:pt x="627" y="1216"/>
                  </a:cubicBezTo>
                  <a:cubicBezTo>
                    <a:pt x="631" y="1213"/>
                    <a:pt x="635" y="1216"/>
                    <a:pt x="640" y="1203"/>
                  </a:cubicBezTo>
                  <a:cubicBezTo>
                    <a:pt x="645" y="1191"/>
                    <a:pt x="650" y="1201"/>
                    <a:pt x="655" y="1190"/>
                  </a:cubicBezTo>
                  <a:cubicBezTo>
                    <a:pt x="660" y="1180"/>
                    <a:pt x="644" y="1166"/>
                    <a:pt x="655" y="1158"/>
                  </a:cubicBezTo>
                  <a:cubicBezTo>
                    <a:pt x="666" y="1151"/>
                    <a:pt x="686" y="1141"/>
                    <a:pt x="686" y="1141"/>
                  </a:cubicBezTo>
                  <a:cubicBezTo>
                    <a:pt x="686" y="1141"/>
                    <a:pt x="692" y="1138"/>
                    <a:pt x="703" y="1136"/>
                  </a:cubicBezTo>
                  <a:cubicBezTo>
                    <a:pt x="715" y="1133"/>
                    <a:pt x="728" y="1135"/>
                    <a:pt x="731" y="1129"/>
                  </a:cubicBezTo>
                  <a:cubicBezTo>
                    <a:pt x="735" y="1123"/>
                    <a:pt x="739" y="1110"/>
                    <a:pt x="744" y="1102"/>
                  </a:cubicBezTo>
                  <a:cubicBezTo>
                    <a:pt x="750" y="1095"/>
                    <a:pt x="757" y="1084"/>
                    <a:pt x="754" y="1078"/>
                  </a:cubicBezTo>
                  <a:cubicBezTo>
                    <a:pt x="751" y="1073"/>
                    <a:pt x="761" y="1050"/>
                    <a:pt x="760" y="1043"/>
                  </a:cubicBezTo>
                  <a:cubicBezTo>
                    <a:pt x="759" y="1037"/>
                    <a:pt x="750" y="1022"/>
                    <a:pt x="764" y="1008"/>
                  </a:cubicBezTo>
                  <a:cubicBezTo>
                    <a:pt x="779" y="995"/>
                    <a:pt x="795" y="975"/>
                    <a:pt x="796" y="970"/>
                  </a:cubicBezTo>
                  <a:cubicBezTo>
                    <a:pt x="797" y="964"/>
                    <a:pt x="809" y="940"/>
                    <a:pt x="808" y="929"/>
                  </a:cubicBezTo>
                  <a:cubicBezTo>
                    <a:pt x="807" y="917"/>
                    <a:pt x="796" y="903"/>
                    <a:pt x="789" y="900"/>
                  </a:cubicBezTo>
                  <a:cubicBezTo>
                    <a:pt x="781" y="896"/>
                    <a:pt x="766" y="895"/>
                    <a:pt x="760" y="886"/>
                  </a:cubicBezTo>
                  <a:cubicBezTo>
                    <a:pt x="754" y="876"/>
                    <a:pt x="737" y="867"/>
                    <a:pt x="730" y="869"/>
                  </a:cubicBezTo>
                  <a:cubicBezTo>
                    <a:pt x="724" y="872"/>
                    <a:pt x="714" y="874"/>
                    <a:pt x="706" y="868"/>
                  </a:cubicBezTo>
                  <a:cubicBezTo>
                    <a:pt x="698" y="862"/>
                    <a:pt x="685" y="855"/>
                    <a:pt x="680" y="850"/>
                  </a:cubicBezTo>
                  <a:cubicBezTo>
                    <a:pt x="674" y="845"/>
                    <a:pt x="661" y="842"/>
                    <a:pt x="655" y="842"/>
                  </a:cubicBezTo>
                  <a:cubicBezTo>
                    <a:pt x="649" y="841"/>
                    <a:pt x="650" y="837"/>
                    <a:pt x="641" y="851"/>
                  </a:cubicBezTo>
                  <a:cubicBezTo>
                    <a:pt x="633" y="865"/>
                    <a:pt x="642" y="869"/>
                    <a:pt x="626" y="867"/>
                  </a:cubicBezTo>
                  <a:cubicBezTo>
                    <a:pt x="610" y="864"/>
                    <a:pt x="628" y="863"/>
                    <a:pt x="636" y="849"/>
                  </a:cubicBezTo>
                  <a:cubicBezTo>
                    <a:pt x="645" y="835"/>
                    <a:pt x="635" y="827"/>
                    <a:pt x="625" y="830"/>
                  </a:cubicBezTo>
                  <a:cubicBezTo>
                    <a:pt x="615" y="834"/>
                    <a:pt x="622" y="841"/>
                    <a:pt x="606" y="844"/>
                  </a:cubicBezTo>
                  <a:cubicBezTo>
                    <a:pt x="590" y="847"/>
                    <a:pt x="590" y="836"/>
                    <a:pt x="600" y="834"/>
                  </a:cubicBezTo>
                  <a:cubicBezTo>
                    <a:pt x="610" y="831"/>
                    <a:pt x="628" y="821"/>
                    <a:pt x="628" y="816"/>
                  </a:cubicBezTo>
                  <a:cubicBezTo>
                    <a:pt x="628" y="812"/>
                    <a:pt x="625" y="799"/>
                    <a:pt x="617" y="798"/>
                  </a:cubicBezTo>
                  <a:cubicBezTo>
                    <a:pt x="609" y="798"/>
                    <a:pt x="611" y="787"/>
                    <a:pt x="599" y="771"/>
                  </a:cubicBezTo>
                  <a:cubicBezTo>
                    <a:pt x="587" y="755"/>
                    <a:pt x="569" y="737"/>
                    <a:pt x="557" y="740"/>
                  </a:cubicBezTo>
                  <a:cubicBezTo>
                    <a:pt x="545" y="742"/>
                    <a:pt x="539" y="753"/>
                    <a:pt x="533" y="740"/>
                  </a:cubicBezTo>
                  <a:cubicBezTo>
                    <a:pt x="527" y="727"/>
                    <a:pt x="520" y="725"/>
                    <a:pt x="516" y="717"/>
                  </a:cubicBezTo>
                  <a:cubicBezTo>
                    <a:pt x="512" y="710"/>
                    <a:pt x="502" y="717"/>
                    <a:pt x="499" y="714"/>
                  </a:cubicBezTo>
                  <a:cubicBezTo>
                    <a:pt x="496" y="710"/>
                    <a:pt x="496" y="710"/>
                    <a:pt x="496" y="710"/>
                  </a:cubicBezTo>
                  <a:cubicBezTo>
                    <a:pt x="496" y="710"/>
                    <a:pt x="483" y="713"/>
                    <a:pt x="490" y="703"/>
                  </a:cubicBezTo>
                  <a:cubicBezTo>
                    <a:pt x="497" y="692"/>
                    <a:pt x="499" y="672"/>
                    <a:pt x="497" y="673"/>
                  </a:cubicBezTo>
                  <a:cubicBezTo>
                    <a:pt x="494" y="674"/>
                    <a:pt x="489" y="691"/>
                    <a:pt x="484" y="690"/>
                  </a:cubicBezTo>
                  <a:cubicBezTo>
                    <a:pt x="479" y="688"/>
                    <a:pt x="483" y="686"/>
                    <a:pt x="473" y="679"/>
                  </a:cubicBezTo>
                  <a:cubicBezTo>
                    <a:pt x="464" y="672"/>
                    <a:pt x="448" y="677"/>
                    <a:pt x="448" y="683"/>
                  </a:cubicBezTo>
                  <a:cubicBezTo>
                    <a:pt x="448" y="689"/>
                    <a:pt x="444" y="694"/>
                    <a:pt x="444" y="694"/>
                  </a:cubicBezTo>
                  <a:cubicBezTo>
                    <a:pt x="444" y="694"/>
                    <a:pt x="441" y="690"/>
                    <a:pt x="438" y="683"/>
                  </a:cubicBezTo>
                  <a:cubicBezTo>
                    <a:pt x="435" y="676"/>
                    <a:pt x="421" y="675"/>
                    <a:pt x="415" y="682"/>
                  </a:cubicBezTo>
                  <a:cubicBezTo>
                    <a:pt x="408" y="689"/>
                    <a:pt x="404" y="664"/>
                    <a:pt x="400" y="664"/>
                  </a:cubicBezTo>
                  <a:cubicBezTo>
                    <a:pt x="395" y="664"/>
                    <a:pt x="386" y="670"/>
                    <a:pt x="381" y="680"/>
                  </a:cubicBezTo>
                  <a:cubicBezTo>
                    <a:pt x="377" y="691"/>
                    <a:pt x="379" y="706"/>
                    <a:pt x="375" y="705"/>
                  </a:cubicBezTo>
                  <a:cubicBezTo>
                    <a:pt x="371" y="703"/>
                    <a:pt x="370" y="683"/>
                    <a:pt x="371" y="676"/>
                  </a:cubicBezTo>
                  <a:cubicBezTo>
                    <a:pt x="372" y="669"/>
                    <a:pt x="382" y="658"/>
                    <a:pt x="374" y="655"/>
                  </a:cubicBezTo>
                  <a:cubicBezTo>
                    <a:pt x="367" y="653"/>
                    <a:pt x="356" y="667"/>
                    <a:pt x="351" y="668"/>
                  </a:cubicBezTo>
                  <a:cubicBezTo>
                    <a:pt x="347" y="669"/>
                    <a:pt x="338" y="677"/>
                    <a:pt x="332" y="686"/>
                  </a:cubicBezTo>
                  <a:cubicBezTo>
                    <a:pt x="327" y="696"/>
                    <a:pt x="325" y="701"/>
                    <a:pt x="319" y="705"/>
                  </a:cubicBezTo>
                  <a:cubicBezTo>
                    <a:pt x="314" y="708"/>
                    <a:pt x="306" y="704"/>
                    <a:pt x="307" y="701"/>
                  </a:cubicBezTo>
                  <a:cubicBezTo>
                    <a:pt x="309" y="697"/>
                    <a:pt x="292" y="684"/>
                    <a:pt x="290" y="689"/>
                  </a:cubicBezTo>
                  <a:cubicBezTo>
                    <a:pt x="287" y="694"/>
                    <a:pt x="279" y="697"/>
                    <a:pt x="271" y="701"/>
                  </a:cubicBezTo>
                  <a:cubicBezTo>
                    <a:pt x="264" y="706"/>
                    <a:pt x="257" y="695"/>
                    <a:pt x="255" y="691"/>
                  </a:cubicBezTo>
                  <a:cubicBezTo>
                    <a:pt x="253" y="686"/>
                    <a:pt x="249" y="685"/>
                    <a:pt x="248" y="670"/>
                  </a:cubicBezTo>
                  <a:cubicBezTo>
                    <a:pt x="247" y="655"/>
                    <a:pt x="250" y="639"/>
                    <a:pt x="252" y="630"/>
                  </a:cubicBezTo>
                  <a:cubicBezTo>
                    <a:pt x="255" y="620"/>
                    <a:pt x="239" y="602"/>
                    <a:pt x="233" y="603"/>
                  </a:cubicBezTo>
                  <a:cubicBezTo>
                    <a:pt x="227" y="604"/>
                    <a:pt x="222" y="612"/>
                    <a:pt x="216" y="611"/>
                  </a:cubicBezTo>
                  <a:cubicBezTo>
                    <a:pt x="210" y="610"/>
                    <a:pt x="212" y="607"/>
                    <a:pt x="203" y="607"/>
                  </a:cubicBezTo>
                  <a:cubicBezTo>
                    <a:pt x="194" y="607"/>
                    <a:pt x="202" y="605"/>
                    <a:pt x="203" y="595"/>
                  </a:cubicBezTo>
                  <a:cubicBezTo>
                    <a:pt x="205" y="585"/>
                    <a:pt x="200" y="571"/>
                    <a:pt x="209" y="562"/>
                  </a:cubicBezTo>
                  <a:cubicBezTo>
                    <a:pt x="218" y="553"/>
                    <a:pt x="215" y="531"/>
                    <a:pt x="209" y="530"/>
                  </a:cubicBezTo>
                  <a:cubicBezTo>
                    <a:pt x="204" y="529"/>
                    <a:pt x="193" y="534"/>
                    <a:pt x="186" y="533"/>
                  </a:cubicBezTo>
                  <a:cubicBezTo>
                    <a:pt x="178" y="532"/>
                    <a:pt x="173" y="541"/>
                    <a:pt x="175" y="551"/>
                  </a:cubicBezTo>
                  <a:cubicBezTo>
                    <a:pt x="177" y="561"/>
                    <a:pt x="171" y="568"/>
                    <a:pt x="169" y="567"/>
                  </a:cubicBezTo>
                  <a:cubicBezTo>
                    <a:pt x="166" y="566"/>
                    <a:pt x="163" y="560"/>
                    <a:pt x="154" y="569"/>
                  </a:cubicBezTo>
                  <a:cubicBezTo>
                    <a:pt x="146" y="578"/>
                    <a:pt x="142" y="575"/>
                    <a:pt x="134" y="565"/>
                  </a:cubicBezTo>
                  <a:cubicBezTo>
                    <a:pt x="126" y="555"/>
                    <a:pt x="117" y="545"/>
                    <a:pt x="115" y="529"/>
                  </a:cubicBezTo>
                  <a:cubicBezTo>
                    <a:pt x="114" y="514"/>
                    <a:pt x="114" y="499"/>
                    <a:pt x="117" y="490"/>
                  </a:cubicBezTo>
                  <a:cubicBezTo>
                    <a:pt x="120" y="481"/>
                    <a:pt x="120" y="465"/>
                    <a:pt x="116" y="463"/>
                  </a:cubicBezTo>
                  <a:cubicBezTo>
                    <a:pt x="111" y="461"/>
                    <a:pt x="121" y="450"/>
                    <a:pt x="127" y="447"/>
                  </a:cubicBezTo>
                  <a:cubicBezTo>
                    <a:pt x="132" y="445"/>
                    <a:pt x="141" y="434"/>
                    <a:pt x="142" y="430"/>
                  </a:cubicBezTo>
                  <a:cubicBezTo>
                    <a:pt x="144" y="425"/>
                    <a:pt x="152" y="426"/>
                    <a:pt x="161" y="426"/>
                  </a:cubicBezTo>
                  <a:cubicBezTo>
                    <a:pt x="169" y="425"/>
                    <a:pt x="171" y="425"/>
                    <a:pt x="179" y="431"/>
                  </a:cubicBezTo>
                  <a:cubicBezTo>
                    <a:pt x="188" y="438"/>
                    <a:pt x="190" y="428"/>
                    <a:pt x="190" y="424"/>
                  </a:cubicBezTo>
                  <a:cubicBezTo>
                    <a:pt x="190" y="421"/>
                    <a:pt x="195" y="418"/>
                    <a:pt x="205" y="419"/>
                  </a:cubicBezTo>
                  <a:cubicBezTo>
                    <a:pt x="215" y="420"/>
                    <a:pt x="228" y="409"/>
                    <a:pt x="230" y="412"/>
                  </a:cubicBezTo>
                  <a:cubicBezTo>
                    <a:pt x="233" y="416"/>
                    <a:pt x="237" y="429"/>
                    <a:pt x="243" y="424"/>
                  </a:cubicBezTo>
                  <a:cubicBezTo>
                    <a:pt x="248" y="420"/>
                    <a:pt x="250" y="412"/>
                    <a:pt x="251" y="425"/>
                  </a:cubicBezTo>
                  <a:cubicBezTo>
                    <a:pt x="252" y="439"/>
                    <a:pt x="256" y="459"/>
                    <a:pt x="264" y="462"/>
                  </a:cubicBezTo>
                  <a:cubicBezTo>
                    <a:pt x="272" y="466"/>
                    <a:pt x="267" y="480"/>
                    <a:pt x="275" y="481"/>
                  </a:cubicBezTo>
                  <a:cubicBezTo>
                    <a:pt x="283" y="481"/>
                    <a:pt x="287" y="458"/>
                    <a:pt x="284" y="450"/>
                  </a:cubicBezTo>
                  <a:cubicBezTo>
                    <a:pt x="282" y="442"/>
                    <a:pt x="277" y="419"/>
                    <a:pt x="273" y="413"/>
                  </a:cubicBezTo>
                  <a:cubicBezTo>
                    <a:pt x="269" y="407"/>
                    <a:pt x="277" y="393"/>
                    <a:pt x="286" y="388"/>
                  </a:cubicBezTo>
                  <a:cubicBezTo>
                    <a:pt x="294" y="383"/>
                    <a:pt x="309" y="359"/>
                    <a:pt x="316" y="352"/>
                  </a:cubicBezTo>
                  <a:cubicBezTo>
                    <a:pt x="322" y="345"/>
                    <a:pt x="343" y="342"/>
                    <a:pt x="338" y="333"/>
                  </a:cubicBezTo>
                  <a:cubicBezTo>
                    <a:pt x="333" y="324"/>
                    <a:pt x="328" y="315"/>
                    <a:pt x="328" y="309"/>
                  </a:cubicBezTo>
                  <a:cubicBezTo>
                    <a:pt x="329" y="302"/>
                    <a:pt x="334" y="304"/>
                    <a:pt x="336" y="308"/>
                  </a:cubicBezTo>
                  <a:cubicBezTo>
                    <a:pt x="339" y="313"/>
                    <a:pt x="350" y="301"/>
                    <a:pt x="348" y="295"/>
                  </a:cubicBezTo>
                  <a:cubicBezTo>
                    <a:pt x="345" y="290"/>
                    <a:pt x="347" y="282"/>
                    <a:pt x="353" y="283"/>
                  </a:cubicBezTo>
                  <a:cubicBezTo>
                    <a:pt x="359" y="284"/>
                    <a:pt x="361" y="277"/>
                    <a:pt x="359" y="272"/>
                  </a:cubicBezTo>
                  <a:cubicBezTo>
                    <a:pt x="356" y="268"/>
                    <a:pt x="366" y="262"/>
                    <a:pt x="372" y="264"/>
                  </a:cubicBezTo>
                  <a:cubicBezTo>
                    <a:pt x="378" y="266"/>
                    <a:pt x="399" y="267"/>
                    <a:pt x="403" y="262"/>
                  </a:cubicBezTo>
                  <a:cubicBezTo>
                    <a:pt x="406" y="257"/>
                    <a:pt x="393" y="248"/>
                    <a:pt x="394" y="240"/>
                  </a:cubicBezTo>
                  <a:cubicBezTo>
                    <a:pt x="394" y="231"/>
                    <a:pt x="406" y="222"/>
                    <a:pt x="412" y="221"/>
                  </a:cubicBezTo>
                  <a:cubicBezTo>
                    <a:pt x="419" y="220"/>
                    <a:pt x="427" y="220"/>
                    <a:pt x="428" y="217"/>
                  </a:cubicBezTo>
                  <a:cubicBezTo>
                    <a:pt x="429" y="214"/>
                    <a:pt x="439" y="204"/>
                    <a:pt x="440" y="212"/>
                  </a:cubicBezTo>
                  <a:cubicBezTo>
                    <a:pt x="440" y="220"/>
                    <a:pt x="438" y="233"/>
                    <a:pt x="446" y="233"/>
                  </a:cubicBezTo>
                  <a:cubicBezTo>
                    <a:pt x="454" y="232"/>
                    <a:pt x="463" y="222"/>
                    <a:pt x="466" y="221"/>
                  </a:cubicBezTo>
                  <a:cubicBezTo>
                    <a:pt x="469" y="219"/>
                    <a:pt x="488" y="214"/>
                    <a:pt x="491" y="213"/>
                  </a:cubicBezTo>
                  <a:cubicBezTo>
                    <a:pt x="495" y="212"/>
                    <a:pt x="518" y="209"/>
                    <a:pt x="516" y="201"/>
                  </a:cubicBezTo>
                  <a:cubicBezTo>
                    <a:pt x="513" y="193"/>
                    <a:pt x="511" y="186"/>
                    <a:pt x="508" y="183"/>
                  </a:cubicBezTo>
                  <a:cubicBezTo>
                    <a:pt x="505" y="180"/>
                    <a:pt x="502" y="184"/>
                    <a:pt x="498" y="190"/>
                  </a:cubicBezTo>
                  <a:cubicBezTo>
                    <a:pt x="494" y="195"/>
                    <a:pt x="488" y="196"/>
                    <a:pt x="486" y="191"/>
                  </a:cubicBezTo>
                  <a:cubicBezTo>
                    <a:pt x="484" y="187"/>
                    <a:pt x="488" y="174"/>
                    <a:pt x="481" y="178"/>
                  </a:cubicBezTo>
                  <a:cubicBezTo>
                    <a:pt x="474" y="183"/>
                    <a:pt x="473" y="187"/>
                    <a:pt x="469" y="185"/>
                  </a:cubicBezTo>
                  <a:cubicBezTo>
                    <a:pt x="466" y="183"/>
                    <a:pt x="462" y="176"/>
                    <a:pt x="462" y="176"/>
                  </a:cubicBezTo>
                  <a:cubicBezTo>
                    <a:pt x="462" y="176"/>
                    <a:pt x="472" y="170"/>
                    <a:pt x="466" y="161"/>
                  </a:cubicBezTo>
                  <a:cubicBezTo>
                    <a:pt x="460" y="151"/>
                    <a:pt x="451" y="154"/>
                    <a:pt x="441" y="160"/>
                  </a:cubicBezTo>
                  <a:cubicBezTo>
                    <a:pt x="431" y="166"/>
                    <a:pt x="432" y="164"/>
                    <a:pt x="421" y="168"/>
                  </a:cubicBezTo>
                  <a:cubicBezTo>
                    <a:pt x="410" y="172"/>
                    <a:pt x="404" y="176"/>
                    <a:pt x="404" y="176"/>
                  </a:cubicBezTo>
                  <a:cubicBezTo>
                    <a:pt x="404" y="176"/>
                    <a:pt x="408" y="159"/>
                    <a:pt x="415" y="152"/>
                  </a:cubicBezTo>
                  <a:cubicBezTo>
                    <a:pt x="422" y="145"/>
                    <a:pt x="442" y="147"/>
                    <a:pt x="448" y="140"/>
                  </a:cubicBezTo>
                  <a:cubicBezTo>
                    <a:pt x="454" y="134"/>
                    <a:pt x="468" y="142"/>
                    <a:pt x="468" y="142"/>
                  </a:cubicBezTo>
                  <a:cubicBezTo>
                    <a:pt x="468" y="142"/>
                    <a:pt x="476" y="134"/>
                    <a:pt x="476" y="139"/>
                  </a:cubicBezTo>
                  <a:cubicBezTo>
                    <a:pt x="475" y="144"/>
                    <a:pt x="473" y="158"/>
                    <a:pt x="478" y="158"/>
                  </a:cubicBezTo>
                  <a:cubicBezTo>
                    <a:pt x="484" y="158"/>
                    <a:pt x="501" y="148"/>
                    <a:pt x="494" y="147"/>
                  </a:cubicBezTo>
                  <a:cubicBezTo>
                    <a:pt x="488" y="145"/>
                    <a:pt x="499" y="140"/>
                    <a:pt x="506" y="135"/>
                  </a:cubicBezTo>
                  <a:cubicBezTo>
                    <a:pt x="512" y="129"/>
                    <a:pt x="525" y="135"/>
                    <a:pt x="529" y="132"/>
                  </a:cubicBezTo>
                  <a:cubicBezTo>
                    <a:pt x="533" y="130"/>
                    <a:pt x="536" y="120"/>
                    <a:pt x="543" y="120"/>
                  </a:cubicBezTo>
                  <a:cubicBezTo>
                    <a:pt x="550" y="120"/>
                    <a:pt x="552" y="129"/>
                    <a:pt x="542" y="136"/>
                  </a:cubicBezTo>
                  <a:cubicBezTo>
                    <a:pt x="532" y="143"/>
                    <a:pt x="530" y="159"/>
                    <a:pt x="525" y="164"/>
                  </a:cubicBezTo>
                  <a:cubicBezTo>
                    <a:pt x="520" y="168"/>
                    <a:pt x="523" y="173"/>
                    <a:pt x="531" y="172"/>
                  </a:cubicBezTo>
                  <a:cubicBezTo>
                    <a:pt x="538" y="171"/>
                    <a:pt x="545" y="173"/>
                    <a:pt x="552" y="170"/>
                  </a:cubicBezTo>
                  <a:cubicBezTo>
                    <a:pt x="559" y="168"/>
                    <a:pt x="562" y="172"/>
                    <a:pt x="564" y="175"/>
                  </a:cubicBezTo>
                  <a:cubicBezTo>
                    <a:pt x="566" y="178"/>
                    <a:pt x="572" y="172"/>
                    <a:pt x="572" y="172"/>
                  </a:cubicBezTo>
                  <a:cubicBezTo>
                    <a:pt x="572" y="172"/>
                    <a:pt x="585" y="168"/>
                    <a:pt x="589" y="173"/>
                  </a:cubicBezTo>
                  <a:cubicBezTo>
                    <a:pt x="592" y="179"/>
                    <a:pt x="596" y="170"/>
                    <a:pt x="593" y="165"/>
                  </a:cubicBezTo>
                  <a:cubicBezTo>
                    <a:pt x="590" y="159"/>
                    <a:pt x="586" y="154"/>
                    <a:pt x="584" y="148"/>
                  </a:cubicBezTo>
                  <a:cubicBezTo>
                    <a:pt x="581" y="141"/>
                    <a:pt x="578" y="139"/>
                    <a:pt x="570" y="142"/>
                  </a:cubicBezTo>
                  <a:cubicBezTo>
                    <a:pt x="562" y="144"/>
                    <a:pt x="560" y="140"/>
                    <a:pt x="556" y="137"/>
                  </a:cubicBezTo>
                  <a:cubicBezTo>
                    <a:pt x="551" y="134"/>
                    <a:pt x="547" y="141"/>
                    <a:pt x="551" y="134"/>
                  </a:cubicBezTo>
                  <a:cubicBezTo>
                    <a:pt x="555" y="126"/>
                    <a:pt x="557" y="124"/>
                    <a:pt x="560" y="117"/>
                  </a:cubicBezTo>
                  <a:cubicBezTo>
                    <a:pt x="564" y="111"/>
                    <a:pt x="577" y="99"/>
                    <a:pt x="565" y="96"/>
                  </a:cubicBezTo>
                  <a:cubicBezTo>
                    <a:pt x="552" y="94"/>
                    <a:pt x="549" y="92"/>
                    <a:pt x="547" y="85"/>
                  </a:cubicBezTo>
                  <a:cubicBezTo>
                    <a:pt x="546" y="79"/>
                    <a:pt x="532" y="69"/>
                    <a:pt x="528" y="69"/>
                  </a:cubicBezTo>
                  <a:cubicBezTo>
                    <a:pt x="525" y="69"/>
                    <a:pt x="506" y="73"/>
                    <a:pt x="506" y="68"/>
                  </a:cubicBezTo>
                  <a:cubicBezTo>
                    <a:pt x="505" y="63"/>
                    <a:pt x="502" y="49"/>
                    <a:pt x="498" y="44"/>
                  </a:cubicBezTo>
                  <a:cubicBezTo>
                    <a:pt x="493" y="39"/>
                    <a:pt x="478" y="18"/>
                    <a:pt x="475" y="17"/>
                  </a:cubicBezTo>
                  <a:cubicBezTo>
                    <a:pt x="473" y="15"/>
                    <a:pt x="469" y="16"/>
                    <a:pt x="460" y="28"/>
                  </a:cubicBezTo>
                  <a:cubicBezTo>
                    <a:pt x="450" y="40"/>
                    <a:pt x="443" y="43"/>
                    <a:pt x="437" y="40"/>
                  </a:cubicBezTo>
                  <a:cubicBezTo>
                    <a:pt x="431" y="38"/>
                    <a:pt x="423" y="41"/>
                    <a:pt x="418" y="34"/>
                  </a:cubicBezTo>
                  <a:cubicBezTo>
                    <a:pt x="412" y="26"/>
                    <a:pt x="431" y="22"/>
                    <a:pt x="429" y="17"/>
                  </a:cubicBezTo>
                  <a:cubicBezTo>
                    <a:pt x="427" y="13"/>
                    <a:pt x="413" y="11"/>
                    <a:pt x="404" y="11"/>
                  </a:cubicBezTo>
                  <a:cubicBezTo>
                    <a:pt x="395" y="11"/>
                    <a:pt x="390" y="0"/>
                    <a:pt x="377" y="0"/>
                  </a:cubicBezTo>
                  <a:cubicBezTo>
                    <a:pt x="363" y="0"/>
                    <a:pt x="347" y="4"/>
                    <a:pt x="343" y="5"/>
                  </a:cubicBezTo>
                  <a:cubicBezTo>
                    <a:pt x="339" y="5"/>
                    <a:pt x="338" y="12"/>
                    <a:pt x="335" y="23"/>
                  </a:cubicBezTo>
                  <a:cubicBezTo>
                    <a:pt x="332" y="34"/>
                    <a:pt x="339" y="36"/>
                    <a:pt x="331" y="38"/>
                  </a:cubicBezTo>
                  <a:cubicBezTo>
                    <a:pt x="323" y="41"/>
                    <a:pt x="320" y="42"/>
                    <a:pt x="327" y="46"/>
                  </a:cubicBezTo>
                  <a:cubicBezTo>
                    <a:pt x="334" y="49"/>
                    <a:pt x="343" y="64"/>
                    <a:pt x="343" y="64"/>
                  </a:cubicBezTo>
                  <a:cubicBezTo>
                    <a:pt x="343" y="64"/>
                    <a:pt x="342" y="73"/>
                    <a:pt x="336" y="79"/>
                  </a:cubicBezTo>
                  <a:cubicBezTo>
                    <a:pt x="329" y="84"/>
                    <a:pt x="322" y="90"/>
                    <a:pt x="320" y="84"/>
                  </a:cubicBezTo>
                  <a:cubicBezTo>
                    <a:pt x="317" y="78"/>
                    <a:pt x="307" y="80"/>
                    <a:pt x="309" y="86"/>
                  </a:cubicBezTo>
                  <a:cubicBezTo>
                    <a:pt x="311" y="92"/>
                    <a:pt x="316" y="95"/>
                    <a:pt x="315" y="101"/>
                  </a:cubicBezTo>
                  <a:cubicBezTo>
                    <a:pt x="315" y="107"/>
                    <a:pt x="321" y="122"/>
                    <a:pt x="316" y="127"/>
                  </a:cubicBezTo>
                  <a:cubicBezTo>
                    <a:pt x="310" y="133"/>
                    <a:pt x="304" y="129"/>
                    <a:pt x="300" y="131"/>
                  </a:cubicBezTo>
                  <a:cubicBezTo>
                    <a:pt x="295" y="132"/>
                    <a:pt x="292" y="123"/>
                    <a:pt x="295" y="121"/>
                  </a:cubicBezTo>
                  <a:cubicBezTo>
                    <a:pt x="299" y="118"/>
                    <a:pt x="296" y="103"/>
                    <a:pt x="296" y="103"/>
                  </a:cubicBezTo>
                  <a:cubicBezTo>
                    <a:pt x="296" y="103"/>
                    <a:pt x="284" y="122"/>
                    <a:pt x="286" y="112"/>
                  </a:cubicBezTo>
                  <a:cubicBezTo>
                    <a:pt x="288" y="103"/>
                    <a:pt x="283" y="102"/>
                    <a:pt x="283" y="95"/>
                  </a:cubicBezTo>
                  <a:cubicBezTo>
                    <a:pt x="284" y="88"/>
                    <a:pt x="277" y="79"/>
                    <a:pt x="270" y="82"/>
                  </a:cubicBezTo>
                  <a:cubicBezTo>
                    <a:pt x="262" y="84"/>
                    <a:pt x="254" y="87"/>
                    <a:pt x="241" y="85"/>
                  </a:cubicBezTo>
                  <a:cubicBezTo>
                    <a:pt x="227" y="83"/>
                    <a:pt x="221" y="82"/>
                    <a:pt x="210" y="76"/>
                  </a:cubicBezTo>
                  <a:cubicBezTo>
                    <a:pt x="200" y="70"/>
                    <a:pt x="195" y="76"/>
                    <a:pt x="189" y="77"/>
                  </a:cubicBezTo>
                  <a:cubicBezTo>
                    <a:pt x="185" y="78"/>
                    <a:pt x="186" y="72"/>
                    <a:pt x="185" y="67"/>
                  </a:cubicBezTo>
                  <a:cubicBezTo>
                    <a:pt x="96" y="175"/>
                    <a:pt x="31" y="304"/>
                    <a:pt x="0" y="444"/>
                  </a:cubicBezTo>
                  <a:cubicBezTo>
                    <a:pt x="4" y="452"/>
                    <a:pt x="10" y="460"/>
                    <a:pt x="13" y="464"/>
                  </a:cubicBezTo>
                  <a:cubicBezTo>
                    <a:pt x="18" y="472"/>
                    <a:pt x="28" y="502"/>
                    <a:pt x="32" y="502"/>
                  </a:cubicBezTo>
                  <a:cubicBezTo>
                    <a:pt x="35" y="501"/>
                    <a:pt x="44" y="518"/>
                    <a:pt x="44" y="518"/>
                  </a:cubicBezTo>
                  <a:cubicBezTo>
                    <a:pt x="44" y="518"/>
                    <a:pt x="49" y="532"/>
                    <a:pt x="47" y="536"/>
                  </a:cubicBezTo>
                  <a:cubicBezTo>
                    <a:pt x="45" y="541"/>
                    <a:pt x="50" y="557"/>
                    <a:pt x="54" y="561"/>
                  </a:cubicBezTo>
                  <a:cubicBezTo>
                    <a:pt x="59" y="565"/>
                    <a:pt x="80" y="565"/>
                    <a:pt x="82" y="582"/>
                  </a:cubicBezTo>
                  <a:cubicBezTo>
                    <a:pt x="82" y="586"/>
                    <a:pt x="85" y="607"/>
                    <a:pt x="93" y="607"/>
                  </a:cubicBezTo>
                  <a:cubicBezTo>
                    <a:pt x="101" y="607"/>
                    <a:pt x="112" y="602"/>
                    <a:pt x="114" y="605"/>
                  </a:cubicBezTo>
                  <a:cubicBezTo>
                    <a:pt x="117" y="608"/>
                    <a:pt x="123" y="621"/>
                    <a:pt x="128" y="614"/>
                  </a:cubicBezTo>
                  <a:cubicBezTo>
                    <a:pt x="133" y="606"/>
                    <a:pt x="133" y="603"/>
                    <a:pt x="140" y="603"/>
                  </a:cubicBezTo>
                  <a:cubicBezTo>
                    <a:pt x="147" y="603"/>
                    <a:pt x="150" y="611"/>
                    <a:pt x="154" y="616"/>
                  </a:cubicBezTo>
                  <a:cubicBezTo>
                    <a:pt x="158" y="622"/>
                    <a:pt x="169" y="637"/>
                    <a:pt x="175" y="636"/>
                  </a:cubicBezTo>
                  <a:cubicBezTo>
                    <a:pt x="181" y="634"/>
                    <a:pt x="188" y="645"/>
                    <a:pt x="192" y="641"/>
                  </a:cubicBezTo>
                  <a:cubicBezTo>
                    <a:pt x="196" y="638"/>
                    <a:pt x="203" y="644"/>
                    <a:pt x="206" y="646"/>
                  </a:cubicBezTo>
                  <a:cubicBezTo>
                    <a:pt x="209" y="649"/>
                    <a:pt x="216" y="657"/>
                    <a:pt x="216" y="671"/>
                  </a:cubicBezTo>
                  <a:cubicBezTo>
                    <a:pt x="215" y="684"/>
                    <a:pt x="227" y="688"/>
                    <a:pt x="233" y="691"/>
                  </a:cubicBezTo>
                  <a:cubicBezTo>
                    <a:pt x="238" y="695"/>
                    <a:pt x="245" y="703"/>
                    <a:pt x="249" y="709"/>
                  </a:cubicBezTo>
                  <a:cubicBezTo>
                    <a:pt x="253" y="715"/>
                    <a:pt x="263" y="716"/>
                    <a:pt x="266" y="720"/>
                  </a:cubicBezTo>
                  <a:cubicBezTo>
                    <a:pt x="268" y="723"/>
                    <a:pt x="270" y="730"/>
                    <a:pt x="278" y="724"/>
                  </a:cubicBezTo>
                  <a:cubicBezTo>
                    <a:pt x="286" y="719"/>
                    <a:pt x="284" y="708"/>
                    <a:pt x="284" y="708"/>
                  </a:cubicBezTo>
                  <a:cubicBezTo>
                    <a:pt x="284" y="708"/>
                    <a:pt x="292" y="706"/>
                    <a:pt x="297" y="711"/>
                  </a:cubicBezTo>
                  <a:cubicBezTo>
                    <a:pt x="302" y="716"/>
                    <a:pt x="305" y="731"/>
                    <a:pt x="307" y="733"/>
                  </a:cubicBezTo>
                  <a:cubicBezTo>
                    <a:pt x="310" y="736"/>
                    <a:pt x="316" y="753"/>
                    <a:pt x="313" y="766"/>
                  </a:cubicBezTo>
                  <a:cubicBezTo>
                    <a:pt x="309" y="778"/>
                    <a:pt x="311" y="791"/>
                    <a:pt x="307" y="791"/>
                  </a:cubicBezTo>
                  <a:cubicBezTo>
                    <a:pt x="304" y="791"/>
                    <a:pt x="294" y="802"/>
                    <a:pt x="289" y="805"/>
                  </a:cubicBezTo>
                  <a:cubicBezTo>
                    <a:pt x="284" y="809"/>
                    <a:pt x="276" y="827"/>
                    <a:pt x="277" y="833"/>
                  </a:cubicBezTo>
                  <a:cubicBezTo>
                    <a:pt x="278" y="838"/>
                    <a:pt x="282" y="856"/>
                    <a:pt x="281" y="864"/>
                  </a:cubicBezTo>
                  <a:cubicBezTo>
                    <a:pt x="279" y="872"/>
                    <a:pt x="273" y="879"/>
                    <a:pt x="276" y="892"/>
                  </a:cubicBezTo>
                  <a:cubicBezTo>
                    <a:pt x="280" y="904"/>
                    <a:pt x="298" y="908"/>
                    <a:pt x="300" y="920"/>
                  </a:cubicBezTo>
                  <a:cubicBezTo>
                    <a:pt x="301" y="931"/>
                    <a:pt x="316" y="956"/>
                    <a:pt x="318" y="967"/>
                  </a:cubicBezTo>
                  <a:cubicBezTo>
                    <a:pt x="321" y="978"/>
                    <a:pt x="331" y="991"/>
                    <a:pt x="332" y="1006"/>
                  </a:cubicBezTo>
                  <a:cubicBezTo>
                    <a:pt x="334" y="1021"/>
                    <a:pt x="361" y="1031"/>
                    <a:pt x="366" y="1033"/>
                  </a:cubicBezTo>
                  <a:cubicBezTo>
                    <a:pt x="370" y="1034"/>
                    <a:pt x="379" y="1044"/>
                    <a:pt x="386" y="1048"/>
                  </a:cubicBezTo>
                  <a:cubicBezTo>
                    <a:pt x="393" y="1051"/>
                    <a:pt x="398" y="1058"/>
                    <a:pt x="404" y="1067"/>
                  </a:cubicBezTo>
                  <a:cubicBezTo>
                    <a:pt x="409" y="1075"/>
                    <a:pt x="409" y="1088"/>
                    <a:pt x="409" y="1091"/>
                  </a:cubicBezTo>
                  <a:cubicBezTo>
                    <a:pt x="410" y="1094"/>
                    <a:pt x="410" y="1125"/>
                    <a:pt x="409" y="1143"/>
                  </a:cubicBezTo>
                  <a:cubicBezTo>
                    <a:pt x="408" y="1161"/>
                    <a:pt x="419" y="1178"/>
                    <a:pt x="414" y="1182"/>
                  </a:cubicBezTo>
                  <a:cubicBezTo>
                    <a:pt x="409" y="1186"/>
                    <a:pt x="399" y="1188"/>
                    <a:pt x="405" y="1194"/>
                  </a:cubicBezTo>
                  <a:cubicBezTo>
                    <a:pt x="411" y="1200"/>
                    <a:pt x="400" y="1203"/>
                    <a:pt x="401" y="1206"/>
                  </a:cubicBezTo>
                  <a:cubicBezTo>
                    <a:pt x="401" y="1208"/>
                    <a:pt x="410" y="1224"/>
                    <a:pt x="407" y="1230"/>
                  </a:cubicBezTo>
                  <a:cubicBezTo>
                    <a:pt x="405" y="1236"/>
                    <a:pt x="403" y="1245"/>
                    <a:pt x="401" y="1250"/>
                  </a:cubicBezTo>
                  <a:cubicBezTo>
                    <a:pt x="399" y="1255"/>
                    <a:pt x="394" y="1260"/>
                    <a:pt x="397" y="1268"/>
                  </a:cubicBezTo>
                  <a:cubicBezTo>
                    <a:pt x="400" y="1276"/>
                    <a:pt x="391" y="1273"/>
                    <a:pt x="392" y="1281"/>
                  </a:cubicBezTo>
                  <a:cubicBezTo>
                    <a:pt x="393" y="1289"/>
                    <a:pt x="400" y="1286"/>
                    <a:pt x="400" y="1295"/>
                  </a:cubicBezTo>
                  <a:cubicBezTo>
                    <a:pt x="400" y="1304"/>
                    <a:pt x="396" y="1306"/>
                    <a:pt x="397" y="1313"/>
                  </a:cubicBezTo>
                  <a:cubicBezTo>
                    <a:pt x="398" y="1320"/>
                    <a:pt x="404" y="1329"/>
                    <a:pt x="405" y="1331"/>
                  </a:cubicBezTo>
                  <a:cubicBezTo>
                    <a:pt x="405" y="1333"/>
                    <a:pt x="402" y="1341"/>
                    <a:pt x="398" y="1347"/>
                  </a:cubicBezTo>
                  <a:cubicBezTo>
                    <a:pt x="393" y="1353"/>
                    <a:pt x="389" y="1357"/>
                    <a:pt x="391" y="1361"/>
                  </a:cubicBezTo>
                  <a:cubicBezTo>
                    <a:pt x="393" y="1365"/>
                    <a:pt x="400" y="1369"/>
                    <a:pt x="399" y="1371"/>
                  </a:cubicBezTo>
                  <a:cubicBezTo>
                    <a:pt x="399" y="1374"/>
                    <a:pt x="393" y="1381"/>
                    <a:pt x="395" y="1386"/>
                  </a:cubicBezTo>
                  <a:cubicBezTo>
                    <a:pt x="397" y="1391"/>
                    <a:pt x="404" y="1389"/>
                    <a:pt x="407" y="1393"/>
                  </a:cubicBezTo>
                  <a:cubicBezTo>
                    <a:pt x="409" y="1396"/>
                    <a:pt x="398" y="1399"/>
                    <a:pt x="404" y="1402"/>
                  </a:cubicBezTo>
                  <a:cubicBezTo>
                    <a:pt x="410" y="1406"/>
                    <a:pt x="416" y="1405"/>
                    <a:pt x="417" y="1414"/>
                  </a:cubicBezTo>
                  <a:cubicBezTo>
                    <a:pt x="417" y="1417"/>
                    <a:pt x="419" y="1419"/>
                    <a:pt x="422" y="1421"/>
                  </a:cubicBezTo>
                  <a:cubicBezTo>
                    <a:pt x="423" y="1421"/>
                    <a:pt x="424" y="1422"/>
                    <a:pt x="425" y="1423"/>
                  </a:cubicBezTo>
                  <a:cubicBezTo>
                    <a:pt x="428" y="1424"/>
                    <a:pt x="431" y="1425"/>
                    <a:pt x="432" y="1426"/>
                  </a:cubicBezTo>
                  <a:cubicBezTo>
                    <a:pt x="435" y="1428"/>
                    <a:pt x="441" y="1432"/>
                    <a:pt x="445" y="14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15" name="Freeform 12">
              <a:extLst>
                <a:ext uri="{FF2B5EF4-FFF2-40B4-BE49-F238E27FC236}">
                  <a16:creationId xmlns:a16="http://schemas.microsoft.com/office/drawing/2014/main" id="{A7F1DD78-F0DE-4C1D-8C82-41D864B19FA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6263" y="1585913"/>
              <a:ext cx="131763" cy="61913"/>
            </a:xfrm>
            <a:custGeom>
              <a:avLst/>
              <a:gdLst>
                <a:gd name="T0" fmla="*/ 9 w 73"/>
                <a:gd name="T1" fmla="*/ 26 h 34"/>
                <a:gd name="T2" fmla="*/ 9 w 73"/>
                <a:gd name="T3" fmla="*/ 26 h 34"/>
                <a:gd name="T4" fmla="*/ 10 w 73"/>
                <a:gd name="T5" fmla="*/ 33 h 34"/>
                <a:gd name="T6" fmla="*/ 28 w 73"/>
                <a:gd name="T7" fmla="*/ 25 h 34"/>
                <a:gd name="T8" fmla="*/ 45 w 73"/>
                <a:gd name="T9" fmla="*/ 23 h 34"/>
                <a:gd name="T10" fmla="*/ 53 w 73"/>
                <a:gd name="T11" fmla="*/ 33 h 34"/>
                <a:gd name="T12" fmla="*/ 63 w 73"/>
                <a:gd name="T13" fmla="*/ 18 h 34"/>
                <a:gd name="T14" fmla="*/ 40 w 73"/>
                <a:gd name="T15" fmla="*/ 7 h 34"/>
                <a:gd name="T16" fmla="*/ 27 w 73"/>
                <a:gd name="T17" fmla="*/ 6 h 34"/>
                <a:gd name="T18" fmla="*/ 24 w 73"/>
                <a:gd name="T19" fmla="*/ 6 h 34"/>
                <a:gd name="T20" fmla="*/ 9 w 73"/>
                <a:gd name="T21" fmla="*/ 20 h 34"/>
                <a:gd name="T22" fmla="*/ 9 w 73"/>
                <a:gd name="T23" fmla="*/ 2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34">
                  <a:moveTo>
                    <a:pt x="9" y="26"/>
                  </a:moveTo>
                  <a:lnTo>
                    <a:pt x="9" y="26"/>
                  </a:lnTo>
                  <a:cubicBezTo>
                    <a:pt x="0" y="33"/>
                    <a:pt x="5" y="34"/>
                    <a:pt x="10" y="33"/>
                  </a:cubicBezTo>
                  <a:cubicBezTo>
                    <a:pt x="16" y="33"/>
                    <a:pt x="28" y="25"/>
                    <a:pt x="28" y="25"/>
                  </a:cubicBezTo>
                  <a:cubicBezTo>
                    <a:pt x="28" y="25"/>
                    <a:pt x="43" y="17"/>
                    <a:pt x="45" y="23"/>
                  </a:cubicBezTo>
                  <a:cubicBezTo>
                    <a:pt x="48" y="28"/>
                    <a:pt x="47" y="34"/>
                    <a:pt x="53" y="33"/>
                  </a:cubicBezTo>
                  <a:cubicBezTo>
                    <a:pt x="59" y="33"/>
                    <a:pt x="73" y="24"/>
                    <a:pt x="63" y="18"/>
                  </a:cubicBezTo>
                  <a:cubicBezTo>
                    <a:pt x="52" y="13"/>
                    <a:pt x="46" y="14"/>
                    <a:pt x="40" y="7"/>
                  </a:cubicBezTo>
                  <a:cubicBezTo>
                    <a:pt x="34" y="0"/>
                    <a:pt x="35" y="3"/>
                    <a:pt x="27" y="6"/>
                  </a:cubicBezTo>
                  <a:cubicBezTo>
                    <a:pt x="26" y="6"/>
                    <a:pt x="25" y="6"/>
                    <a:pt x="24" y="6"/>
                  </a:cubicBezTo>
                  <a:cubicBezTo>
                    <a:pt x="19" y="11"/>
                    <a:pt x="14" y="15"/>
                    <a:pt x="9" y="20"/>
                  </a:cubicBezTo>
                  <a:cubicBezTo>
                    <a:pt x="11" y="21"/>
                    <a:pt x="12" y="23"/>
                    <a:pt x="9" y="2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16" name="Freeform 13">
              <a:extLst>
                <a:ext uri="{FF2B5EF4-FFF2-40B4-BE49-F238E27FC236}">
                  <a16:creationId xmlns:a16="http://schemas.microsoft.com/office/drawing/2014/main" id="{9482BDD0-22EF-42E8-B0BF-2BA353EE4B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5476" y="1641475"/>
              <a:ext cx="31750" cy="25400"/>
            </a:xfrm>
            <a:custGeom>
              <a:avLst/>
              <a:gdLst>
                <a:gd name="T0" fmla="*/ 3 w 18"/>
                <a:gd name="T1" fmla="*/ 8 h 14"/>
                <a:gd name="T2" fmla="*/ 3 w 18"/>
                <a:gd name="T3" fmla="*/ 8 h 14"/>
                <a:gd name="T4" fmla="*/ 15 w 18"/>
                <a:gd name="T5" fmla="*/ 10 h 14"/>
                <a:gd name="T6" fmla="*/ 3 w 18"/>
                <a:gd name="T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4">
                  <a:moveTo>
                    <a:pt x="3" y="8"/>
                  </a:moveTo>
                  <a:lnTo>
                    <a:pt x="3" y="8"/>
                  </a:lnTo>
                  <a:cubicBezTo>
                    <a:pt x="0" y="11"/>
                    <a:pt x="12" y="14"/>
                    <a:pt x="15" y="10"/>
                  </a:cubicBezTo>
                  <a:cubicBezTo>
                    <a:pt x="18" y="6"/>
                    <a:pt x="9" y="0"/>
                    <a:pt x="3" y="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17" name="Freeform 14">
              <a:extLst>
                <a:ext uri="{FF2B5EF4-FFF2-40B4-BE49-F238E27FC236}">
                  <a16:creationId xmlns:a16="http://schemas.microsoft.com/office/drawing/2014/main" id="{60A79A14-7ADD-496A-9E66-AE25049191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1513" y="1655763"/>
              <a:ext cx="33338" cy="23813"/>
            </a:xfrm>
            <a:custGeom>
              <a:avLst/>
              <a:gdLst>
                <a:gd name="T0" fmla="*/ 9 w 19"/>
                <a:gd name="T1" fmla="*/ 3 h 13"/>
                <a:gd name="T2" fmla="*/ 9 w 19"/>
                <a:gd name="T3" fmla="*/ 3 h 13"/>
                <a:gd name="T4" fmla="*/ 13 w 19"/>
                <a:gd name="T5" fmla="*/ 10 h 13"/>
                <a:gd name="T6" fmla="*/ 9 w 19"/>
                <a:gd name="T7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3">
                  <a:moveTo>
                    <a:pt x="9" y="3"/>
                  </a:moveTo>
                  <a:lnTo>
                    <a:pt x="9" y="3"/>
                  </a:lnTo>
                  <a:cubicBezTo>
                    <a:pt x="0" y="6"/>
                    <a:pt x="7" y="13"/>
                    <a:pt x="13" y="10"/>
                  </a:cubicBezTo>
                  <a:cubicBezTo>
                    <a:pt x="19" y="7"/>
                    <a:pt x="17" y="0"/>
                    <a:pt x="9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18" name="Freeform 15">
              <a:extLst>
                <a:ext uri="{FF2B5EF4-FFF2-40B4-BE49-F238E27FC236}">
                  <a16:creationId xmlns:a16="http://schemas.microsoft.com/office/drawing/2014/main" id="{9E3D9B85-0C21-4CD2-858E-1DECAAA642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8476" y="1538288"/>
              <a:ext cx="203200" cy="74613"/>
            </a:xfrm>
            <a:custGeom>
              <a:avLst/>
              <a:gdLst>
                <a:gd name="T0" fmla="*/ 40 w 113"/>
                <a:gd name="T1" fmla="*/ 33 h 42"/>
                <a:gd name="T2" fmla="*/ 40 w 113"/>
                <a:gd name="T3" fmla="*/ 33 h 42"/>
                <a:gd name="T4" fmla="*/ 58 w 113"/>
                <a:gd name="T5" fmla="*/ 39 h 42"/>
                <a:gd name="T6" fmla="*/ 80 w 113"/>
                <a:gd name="T7" fmla="*/ 31 h 42"/>
                <a:gd name="T8" fmla="*/ 99 w 113"/>
                <a:gd name="T9" fmla="*/ 27 h 42"/>
                <a:gd name="T10" fmla="*/ 107 w 113"/>
                <a:gd name="T11" fmla="*/ 12 h 42"/>
                <a:gd name="T12" fmla="*/ 84 w 113"/>
                <a:gd name="T13" fmla="*/ 4 h 42"/>
                <a:gd name="T14" fmla="*/ 61 w 113"/>
                <a:gd name="T15" fmla="*/ 8 h 42"/>
                <a:gd name="T16" fmla="*/ 35 w 113"/>
                <a:gd name="T17" fmla="*/ 7 h 42"/>
                <a:gd name="T18" fmla="*/ 7 w 113"/>
                <a:gd name="T19" fmla="*/ 3 h 42"/>
                <a:gd name="T20" fmla="*/ 5 w 113"/>
                <a:gd name="T21" fmla="*/ 15 h 42"/>
                <a:gd name="T22" fmla="*/ 19 w 113"/>
                <a:gd name="T23" fmla="*/ 28 h 42"/>
                <a:gd name="T24" fmla="*/ 40 w 113"/>
                <a:gd name="T25" fmla="*/ 3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3" h="42">
                  <a:moveTo>
                    <a:pt x="40" y="33"/>
                  </a:moveTo>
                  <a:lnTo>
                    <a:pt x="40" y="33"/>
                  </a:lnTo>
                  <a:cubicBezTo>
                    <a:pt x="43" y="38"/>
                    <a:pt x="48" y="42"/>
                    <a:pt x="58" y="39"/>
                  </a:cubicBezTo>
                  <a:cubicBezTo>
                    <a:pt x="69" y="36"/>
                    <a:pt x="78" y="34"/>
                    <a:pt x="80" y="31"/>
                  </a:cubicBezTo>
                  <a:cubicBezTo>
                    <a:pt x="82" y="27"/>
                    <a:pt x="99" y="27"/>
                    <a:pt x="99" y="27"/>
                  </a:cubicBezTo>
                  <a:cubicBezTo>
                    <a:pt x="99" y="27"/>
                    <a:pt x="113" y="17"/>
                    <a:pt x="107" y="12"/>
                  </a:cubicBezTo>
                  <a:cubicBezTo>
                    <a:pt x="102" y="8"/>
                    <a:pt x="90" y="5"/>
                    <a:pt x="84" y="4"/>
                  </a:cubicBezTo>
                  <a:cubicBezTo>
                    <a:pt x="79" y="3"/>
                    <a:pt x="73" y="8"/>
                    <a:pt x="61" y="8"/>
                  </a:cubicBezTo>
                  <a:cubicBezTo>
                    <a:pt x="48" y="7"/>
                    <a:pt x="40" y="12"/>
                    <a:pt x="35" y="7"/>
                  </a:cubicBezTo>
                  <a:cubicBezTo>
                    <a:pt x="30" y="2"/>
                    <a:pt x="9" y="0"/>
                    <a:pt x="7" y="3"/>
                  </a:cubicBezTo>
                  <a:cubicBezTo>
                    <a:pt x="5" y="7"/>
                    <a:pt x="0" y="7"/>
                    <a:pt x="5" y="15"/>
                  </a:cubicBezTo>
                  <a:cubicBezTo>
                    <a:pt x="10" y="24"/>
                    <a:pt x="14" y="29"/>
                    <a:pt x="19" y="28"/>
                  </a:cubicBezTo>
                  <a:cubicBezTo>
                    <a:pt x="23" y="28"/>
                    <a:pt x="38" y="27"/>
                    <a:pt x="40" y="3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19" name="Freeform 16">
              <a:extLst>
                <a:ext uri="{FF2B5EF4-FFF2-40B4-BE49-F238E27FC236}">
                  <a16:creationId xmlns:a16="http://schemas.microsoft.com/office/drawing/2014/main" id="{A6731FA8-62FE-4D6F-BDFF-3D361945C1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751" y="1182688"/>
              <a:ext cx="979488" cy="492125"/>
            </a:xfrm>
            <a:custGeom>
              <a:avLst/>
              <a:gdLst>
                <a:gd name="T0" fmla="*/ 7 w 548"/>
                <a:gd name="T1" fmla="*/ 117 h 274"/>
                <a:gd name="T2" fmla="*/ 29 w 548"/>
                <a:gd name="T3" fmla="*/ 99 h 274"/>
                <a:gd name="T4" fmla="*/ 60 w 548"/>
                <a:gd name="T5" fmla="*/ 109 h 274"/>
                <a:gd name="T6" fmla="*/ 124 w 548"/>
                <a:gd name="T7" fmla="*/ 126 h 274"/>
                <a:gd name="T8" fmla="*/ 143 w 548"/>
                <a:gd name="T9" fmla="*/ 148 h 274"/>
                <a:gd name="T10" fmla="*/ 171 w 548"/>
                <a:gd name="T11" fmla="*/ 168 h 274"/>
                <a:gd name="T12" fmla="*/ 157 w 548"/>
                <a:gd name="T13" fmla="*/ 190 h 274"/>
                <a:gd name="T14" fmla="*/ 147 w 548"/>
                <a:gd name="T15" fmla="*/ 196 h 274"/>
                <a:gd name="T16" fmla="*/ 140 w 548"/>
                <a:gd name="T17" fmla="*/ 198 h 274"/>
                <a:gd name="T18" fmla="*/ 165 w 548"/>
                <a:gd name="T19" fmla="*/ 224 h 274"/>
                <a:gd name="T20" fmla="*/ 172 w 548"/>
                <a:gd name="T21" fmla="*/ 247 h 274"/>
                <a:gd name="T22" fmla="*/ 217 w 548"/>
                <a:gd name="T23" fmla="*/ 260 h 274"/>
                <a:gd name="T24" fmla="*/ 245 w 548"/>
                <a:gd name="T25" fmla="*/ 266 h 274"/>
                <a:gd name="T26" fmla="*/ 259 w 548"/>
                <a:gd name="T27" fmla="*/ 239 h 274"/>
                <a:gd name="T28" fmla="*/ 277 w 548"/>
                <a:gd name="T29" fmla="*/ 215 h 274"/>
                <a:gd name="T30" fmla="*/ 333 w 548"/>
                <a:gd name="T31" fmla="*/ 205 h 274"/>
                <a:gd name="T32" fmla="*/ 390 w 548"/>
                <a:gd name="T33" fmla="*/ 183 h 274"/>
                <a:gd name="T34" fmla="*/ 439 w 548"/>
                <a:gd name="T35" fmla="*/ 170 h 274"/>
                <a:gd name="T36" fmla="*/ 413 w 548"/>
                <a:gd name="T37" fmla="*/ 141 h 274"/>
                <a:gd name="T38" fmla="*/ 451 w 548"/>
                <a:gd name="T39" fmla="*/ 164 h 274"/>
                <a:gd name="T40" fmla="*/ 451 w 548"/>
                <a:gd name="T41" fmla="*/ 139 h 274"/>
                <a:gd name="T42" fmla="*/ 488 w 548"/>
                <a:gd name="T43" fmla="*/ 126 h 274"/>
                <a:gd name="T44" fmla="*/ 497 w 548"/>
                <a:gd name="T45" fmla="*/ 95 h 274"/>
                <a:gd name="T46" fmla="*/ 491 w 548"/>
                <a:gd name="T47" fmla="*/ 74 h 274"/>
                <a:gd name="T48" fmla="*/ 539 w 548"/>
                <a:gd name="T49" fmla="*/ 36 h 274"/>
                <a:gd name="T50" fmla="*/ 473 w 548"/>
                <a:gd name="T51" fmla="*/ 47 h 274"/>
                <a:gd name="T52" fmla="*/ 435 w 548"/>
                <a:gd name="T53" fmla="*/ 8 h 274"/>
                <a:gd name="T54" fmla="*/ 403 w 548"/>
                <a:gd name="T55" fmla="*/ 8 h 274"/>
                <a:gd name="T56" fmla="*/ 355 w 548"/>
                <a:gd name="T57" fmla="*/ 15 h 274"/>
                <a:gd name="T58" fmla="*/ 340 w 548"/>
                <a:gd name="T59" fmla="*/ 13 h 274"/>
                <a:gd name="T60" fmla="*/ 381 w 548"/>
                <a:gd name="T61" fmla="*/ 5 h 274"/>
                <a:gd name="T62" fmla="*/ 217 w 548"/>
                <a:gd name="T63" fmla="*/ 22 h 274"/>
                <a:gd name="T64" fmla="*/ 207 w 548"/>
                <a:gd name="T65" fmla="*/ 25 h 274"/>
                <a:gd name="T66" fmla="*/ 185 w 548"/>
                <a:gd name="T67" fmla="*/ 35 h 274"/>
                <a:gd name="T68" fmla="*/ 0 w 548"/>
                <a:gd name="T69" fmla="*/ 109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48" h="274">
                  <a:moveTo>
                    <a:pt x="7" y="117"/>
                  </a:moveTo>
                  <a:lnTo>
                    <a:pt x="7" y="117"/>
                  </a:lnTo>
                  <a:cubicBezTo>
                    <a:pt x="11" y="119"/>
                    <a:pt x="17" y="117"/>
                    <a:pt x="20" y="113"/>
                  </a:cubicBezTo>
                  <a:cubicBezTo>
                    <a:pt x="23" y="110"/>
                    <a:pt x="29" y="99"/>
                    <a:pt x="29" y="99"/>
                  </a:cubicBezTo>
                  <a:cubicBezTo>
                    <a:pt x="29" y="99"/>
                    <a:pt x="27" y="109"/>
                    <a:pt x="33" y="111"/>
                  </a:cubicBezTo>
                  <a:cubicBezTo>
                    <a:pt x="39" y="113"/>
                    <a:pt x="56" y="109"/>
                    <a:pt x="60" y="109"/>
                  </a:cubicBezTo>
                  <a:cubicBezTo>
                    <a:pt x="64" y="109"/>
                    <a:pt x="89" y="112"/>
                    <a:pt x="96" y="115"/>
                  </a:cubicBezTo>
                  <a:cubicBezTo>
                    <a:pt x="102" y="118"/>
                    <a:pt x="120" y="119"/>
                    <a:pt x="124" y="126"/>
                  </a:cubicBezTo>
                  <a:cubicBezTo>
                    <a:pt x="128" y="133"/>
                    <a:pt x="125" y="158"/>
                    <a:pt x="128" y="161"/>
                  </a:cubicBezTo>
                  <a:cubicBezTo>
                    <a:pt x="130" y="163"/>
                    <a:pt x="141" y="151"/>
                    <a:pt x="143" y="148"/>
                  </a:cubicBezTo>
                  <a:cubicBezTo>
                    <a:pt x="146" y="145"/>
                    <a:pt x="157" y="147"/>
                    <a:pt x="161" y="150"/>
                  </a:cubicBezTo>
                  <a:cubicBezTo>
                    <a:pt x="164" y="154"/>
                    <a:pt x="172" y="164"/>
                    <a:pt x="171" y="168"/>
                  </a:cubicBezTo>
                  <a:cubicBezTo>
                    <a:pt x="170" y="172"/>
                    <a:pt x="168" y="178"/>
                    <a:pt x="165" y="176"/>
                  </a:cubicBezTo>
                  <a:cubicBezTo>
                    <a:pt x="162" y="174"/>
                    <a:pt x="154" y="195"/>
                    <a:pt x="157" y="190"/>
                  </a:cubicBezTo>
                  <a:cubicBezTo>
                    <a:pt x="160" y="185"/>
                    <a:pt x="160" y="196"/>
                    <a:pt x="156" y="196"/>
                  </a:cubicBezTo>
                  <a:cubicBezTo>
                    <a:pt x="151" y="196"/>
                    <a:pt x="147" y="196"/>
                    <a:pt x="147" y="196"/>
                  </a:cubicBezTo>
                  <a:cubicBezTo>
                    <a:pt x="147" y="196"/>
                    <a:pt x="146" y="194"/>
                    <a:pt x="145" y="191"/>
                  </a:cubicBezTo>
                  <a:cubicBezTo>
                    <a:pt x="143" y="193"/>
                    <a:pt x="140" y="196"/>
                    <a:pt x="140" y="198"/>
                  </a:cubicBezTo>
                  <a:cubicBezTo>
                    <a:pt x="140" y="202"/>
                    <a:pt x="146" y="216"/>
                    <a:pt x="148" y="219"/>
                  </a:cubicBezTo>
                  <a:cubicBezTo>
                    <a:pt x="150" y="222"/>
                    <a:pt x="162" y="224"/>
                    <a:pt x="165" y="224"/>
                  </a:cubicBezTo>
                  <a:cubicBezTo>
                    <a:pt x="168" y="225"/>
                    <a:pt x="157" y="225"/>
                    <a:pt x="160" y="230"/>
                  </a:cubicBezTo>
                  <a:cubicBezTo>
                    <a:pt x="162" y="234"/>
                    <a:pt x="166" y="244"/>
                    <a:pt x="172" y="247"/>
                  </a:cubicBezTo>
                  <a:cubicBezTo>
                    <a:pt x="178" y="249"/>
                    <a:pt x="195" y="260"/>
                    <a:pt x="197" y="265"/>
                  </a:cubicBezTo>
                  <a:cubicBezTo>
                    <a:pt x="199" y="270"/>
                    <a:pt x="214" y="261"/>
                    <a:pt x="217" y="260"/>
                  </a:cubicBezTo>
                  <a:cubicBezTo>
                    <a:pt x="220" y="259"/>
                    <a:pt x="218" y="273"/>
                    <a:pt x="226" y="274"/>
                  </a:cubicBezTo>
                  <a:cubicBezTo>
                    <a:pt x="235" y="274"/>
                    <a:pt x="238" y="272"/>
                    <a:pt x="245" y="266"/>
                  </a:cubicBezTo>
                  <a:cubicBezTo>
                    <a:pt x="252" y="260"/>
                    <a:pt x="251" y="253"/>
                    <a:pt x="252" y="247"/>
                  </a:cubicBezTo>
                  <a:cubicBezTo>
                    <a:pt x="252" y="241"/>
                    <a:pt x="252" y="237"/>
                    <a:pt x="259" y="239"/>
                  </a:cubicBezTo>
                  <a:cubicBezTo>
                    <a:pt x="267" y="240"/>
                    <a:pt x="271" y="237"/>
                    <a:pt x="271" y="231"/>
                  </a:cubicBezTo>
                  <a:cubicBezTo>
                    <a:pt x="270" y="225"/>
                    <a:pt x="264" y="217"/>
                    <a:pt x="277" y="215"/>
                  </a:cubicBezTo>
                  <a:cubicBezTo>
                    <a:pt x="289" y="213"/>
                    <a:pt x="295" y="205"/>
                    <a:pt x="303" y="205"/>
                  </a:cubicBezTo>
                  <a:cubicBezTo>
                    <a:pt x="310" y="205"/>
                    <a:pt x="331" y="208"/>
                    <a:pt x="333" y="205"/>
                  </a:cubicBezTo>
                  <a:cubicBezTo>
                    <a:pt x="336" y="202"/>
                    <a:pt x="346" y="184"/>
                    <a:pt x="352" y="183"/>
                  </a:cubicBezTo>
                  <a:cubicBezTo>
                    <a:pt x="358" y="182"/>
                    <a:pt x="375" y="185"/>
                    <a:pt x="390" y="183"/>
                  </a:cubicBezTo>
                  <a:cubicBezTo>
                    <a:pt x="405" y="181"/>
                    <a:pt x="421" y="172"/>
                    <a:pt x="426" y="172"/>
                  </a:cubicBezTo>
                  <a:cubicBezTo>
                    <a:pt x="431" y="173"/>
                    <a:pt x="443" y="173"/>
                    <a:pt x="439" y="170"/>
                  </a:cubicBezTo>
                  <a:cubicBezTo>
                    <a:pt x="435" y="166"/>
                    <a:pt x="430" y="158"/>
                    <a:pt x="421" y="158"/>
                  </a:cubicBezTo>
                  <a:cubicBezTo>
                    <a:pt x="413" y="158"/>
                    <a:pt x="411" y="141"/>
                    <a:pt x="413" y="141"/>
                  </a:cubicBezTo>
                  <a:cubicBezTo>
                    <a:pt x="416" y="141"/>
                    <a:pt x="436" y="147"/>
                    <a:pt x="436" y="153"/>
                  </a:cubicBezTo>
                  <a:cubicBezTo>
                    <a:pt x="435" y="159"/>
                    <a:pt x="439" y="166"/>
                    <a:pt x="451" y="164"/>
                  </a:cubicBezTo>
                  <a:cubicBezTo>
                    <a:pt x="462" y="162"/>
                    <a:pt x="460" y="153"/>
                    <a:pt x="458" y="151"/>
                  </a:cubicBezTo>
                  <a:cubicBezTo>
                    <a:pt x="455" y="149"/>
                    <a:pt x="454" y="143"/>
                    <a:pt x="451" y="139"/>
                  </a:cubicBezTo>
                  <a:cubicBezTo>
                    <a:pt x="449" y="135"/>
                    <a:pt x="443" y="124"/>
                    <a:pt x="455" y="123"/>
                  </a:cubicBezTo>
                  <a:cubicBezTo>
                    <a:pt x="467" y="122"/>
                    <a:pt x="489" y="134"/>
                    <a:pt x="488" y="126"/>
                  </a:cubicBezTo>
                  <a:cubicBezTo>
                    <a:pt x="487" y="117"/>
                    <a:pt x="487" y="108"/>
                    <a:pt x="491" y="104"/>
                  </a:cubicBezTo>
                  <a:cubicBezTo>
                    <a:pt x="494" y="99"/>
                    <a:pt x="501" y="96"/>
                    <a:pt x="497" y="95"/>
                  </a:cubicBezTo>
                  <a:cubicBezTo>
                    <a:pt x="493" y="93"/>
                    <a:pt x="488" y="97"/>
                    <a:pt x="484" y="89"/>
                  </a:cubicBezTo>
                  <a:cubicBezTo>
                    <a:pt x="480" y="82"/>
                    <a:pt x="486" y="76"/>
                    <a:pt x="491" y="74"/>
                  </a:cubicBezTo>
                  <a:cubicBezTo>
                    <a:pt x="495" y="71"/>
                    <a:pt x="516" y="53"/>
                    <a:pt x="528" y="51"/>
                  </a:cubicBezTo>
                  <a:cubicBezTo>
                    <a:pt x="540" y="48"/>
                    <a:pt x="548" y="38"/>
                    <a:pt x="539" y="36"/>
                  </a:cubicBezTo>
                  <a:cubicBezTo>
                    <a:pt x="530" y="34"/>
                    <a:pt x="513" y="30"/>
                    <a:pt x="503" y="36"/>
                  </a:cubicBezTo>
                  <a:cubicBezTo>
                    <a:pt x="492" y="43"/>
                    <a:pt x="486" y="50"/>
                    <a:pt x="473" y="47"/>
                  </a:cubicBezTo>
                  <a:cubicBezTo>
                    <a:pt x="460" y="45"/>
                    <a:pt x="458" y="34"/>
                    <a:pt x="450" y="28"/>
                  </a:cubicBezTo>
                  <a:cubicBezTo>
                    <a:pt x="440" y="20"/>
                    <a:pt x="445" y="6"/>
                    <a:pt x="435" y="8"/>
                  </a:cubicBezTo>
                  <a:cubicBezTo>
                    <a:pt x="424" y="8"/>
                    <a:pt x="424" y="8"/>
                    <a:pt x="424" y="8"/>
                  </a:cubicBezTo>
                  <a:cubicBezTo>
                    <a:pt x="424" y="8"/>
                    <a:pt x="411" y="7"/>
                    <a:pt x="403" y="8"/>
                  </a:cubicBezTo>
                  <a:cubicBezTo>
                    <a:pt x="393" y="9"/>
                    <a:pt x="386" y="13"/>
                    <a:pt x="380" y="12"/>
                  </a:cubicBezTo>
                  <a:cubicBezTo>
                    <a:pt x="369" y="10"/>
                    <a:pt x="358" y="14"/>
                    <a:pt x="355" y="15"/>
                  </a:cubicBezTo>
                  <a:cubicBezTo>
                    <a:pt x="330" y="19"/>
                    <a:pt x="310" y="14"/>
                    <a:pt x="306" y="13"/>
                  </a:cubicBezTo>
                  <a:cubicBezTo>
                    <a:pt x="303" y="13"/>
                    <a:pt x="324" y="15"/>
                    <a:pt x="340" y="13"/>
                  </a:cubicBezTo>
                  <a:cubicBezTo>
                    <a:pt x="352" y="12"/>
                    <a:pt x="373" y="9"/>
                    <a:pt x="383" y="8"/>
                  </a:cubicBezTo>
                  <a:cubicBezTo>
                    <a:pt x="393" y="8"/>
                    <a:pt x="385" y="5"/>
                    <a:pt x="381" y="5"/>
                  </a:cubicBezTo>
                  <a:cubicBezTo>
                    <a:pt x="370" y="4"/>
                    <a:pt x="353" y="1"/>
                    <a:pt x="339" y="0"/>
                  </a:cubicBezTo>
                  <a:cubicBezTo>
                    <a:pt x="297" y="5"/>
                    <a:pt x="256" y="12"/>
                    <a:pt x="217" y="22"/>
                  </a:cubicBezTo>
                  <a:cubicBezTo>
                    <a:pt x="213" y="25"/>
                    <a:pt x="210" y="27"/>
                    <a:pt x="208" y="26"/>
                  </a:cubicBezTo>
                  <a:cubicBezTo>
                    <a:pt x="207" y="25"/>
                    <a:pt x="207" y="25"/>
                    <a:pt x="207" y="25"/>
                  </a:cubicBezTo>
                  <a:cubicBezTo>
                    <a:pt x="201" y="26"/>
                    <a:pt x="195" y="28"/>
                    <a:pt x="189" y="30"/>
                  </a:cubicBezTo>
                  <a:cubicBezTo>
                    <a:pt x="188" y="32"/>
                    <a:pt x="187" y="33"/>
                    <a:pt x="185" y="35"/>
                  </a:cubicBezTo>
                  <a:cubicBezTo>
                    <a:pt x="179" y="40"/>
                    <a:pt x="166" y="40"/>
                    <a:pt x="159" y="39"/>
                  </a:cubicBezTo>
                  <a:cubicBezTo>
                    <a:pt x="103" y="57"/>
                    <a:pt x="50" y="81"/>
                    <a:pt x="0" y="109"/>
                  </a:cubicBezTo>
                  <a:cubicBezTo>
                    <a:pt x="2" y="113"/>
                    <a:pt x="5" y="116"/>
                    <a:pt x="7" y="1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20" name="Freeform 17">
              <a:extLst>
                <a:ext uri="{FF2B5EF4-FFF2-40B4-BE49-F238E27FC236}">
                  <a16:creationId xmlns:a16="http://schemas.microsoft.com/office/drawing/2014/main" id="{C1DE6378-47D3-4666-8DCB-92FC1A607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9351" y="1501775"/>
              <a:ext cx="28575" cy="25400"/>
            </a:xfrm>
            <a:custGeom>
              <a:avLst/>
              <a:gdLst>
                <a:gd name="T0" fmla="*/ 6 w 16"/>
                <a:gd name="T1" fmla="*/ 5 h 14"/>
                <a:gd name="T2" fmla="*/ 6 w 16"/>
                <a:gd name="T3" fmla="*/ 5 h 14"/>
                <a:gd name="T4" fmla="*/ 8 w 16"/>
                <a:gd name="T5" fmla="*/ 12 h 14"/>
                <a:gd name="T6" fmla="*/ 16 w 16"/>
                <a:gd name="T7" fmla="*/ 10 h 14"/>
                <a:gd name="T8" fmla="*/ 6 w 16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6" y="5"/>
                  </a:moveTo>
                  <a:lnTo>
                    <a:pt x="6" y="5"/>
                  </a:lnTo>
                  <a:cubicBezTo>
                    <a:pt x="0" y="14"/>
                    <a:pt x="5" y="12"/>
                    <a:pt x="8" y="12"/>
                  </a:cubicBezTo>
                  <a:cubicBezTo>
                    <a:pt x="10" y="12"/>
                    <a:pt x="13" y="11"/>
                    <a:pt x="16" y="10"/>
                  </a:cubicBezTo>
                  <a:cubicBezTo>
                    <a:pt x="13" y="5"/>
                    <a:pt x="10" y="0"/>
                    <a:pt x="6" y="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21" name="Freeform 18">
              <a:extLst>
                <a:ext uri="{FF2B5EF4-FFF2-40B4-BE49-F238E27FC236}">
                  <a16:creationId xmlns:a16="http://schemas.microsoft.com/office/drawing/2014/main" id="{6108164D-788A-474B-9152-3EEBA65A37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388" y="2554288"/>
              <a:ext cx="171450" cy="79375"/>
            </a:xfrm>
            <a:custGeom>
              <a:avLst/>
              <a:gdLst>
                <a:gd name="T0" fmla="*/ 78 w 96"/>
                <a:gd name="T1" fmla="*/ 24 h 45"/>
                <a:gd name="T2" fmla="*/ 78 w 96"/>
                <a:gd name="T3" fmla="*/ 24 h 45"/>
                <a:gd name="T4" fmla="*/ 52 w 96"/>
                <a:gd name="T5" fmla="*/ 8 h 45"/>
                <a:gd name="T6" fmla="*/ 27 w 96"/>
                <a:gd name="T7" fmla="*/ 0 h 45"/>
                <a:gd name="T8" fmla="*/ 1 w 96"/>
                <a:gd name="T9" fmla="*/ 9 h 45"/>
                <a:gd name="T10" fmla="*/ 19 w 96"/>
                <a:gd name="T11" fmla="*/ 16 h 45"/>
                <a:gd name="T12" fmla="*/ 51 w 96"/>
                <a:gd name="T13" fmla="*/ 19 h 45"/>
                <a:gd name="T14" fmla="*/ 75 w 96"/>
                <a:gd name="T15" fmla="*/ 39 h 45"/>
                <a:gd name="T16" fmla="*/ 95 w 96"/>
                <a:gd name="T17" fmla="*/ 40 h 45"/>
                <a:gd name="T18" fmla="*/ 78 w 96"/>
                <a:gd name="T19" fmla="*/ 2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45">
                  <a:moveTo>
                    <a:pt x="78" y="24"/>
                  </a:moveTo>
                  <a:lnTo>
                    <a:pt x="78" y="24"/>
                  </a:lnTo>
                  <a:cubicBezTo>
                    <a:pt x="72" y="25"/>
                    <a:pt x="59" y="16"/>
                    <a:pt x="52" y="8"/>
                  </a:cubicBezTo>
                  <a:cubicBezTo>
                    <a:pt x="45" y="0"/>
                    <a:pt x="32" y="0"/>
                    <a:pt x="27" y="0"/>
                  </a:cubicBezTo>
                  <a:cubicBezTo>
                    <a:pt x="21" y="0"/>
                    <a:pt x="1" y="9"/>
                    <a:pt x="1" y="9"/>
                  </a:cubicBezTo>
                  <a:cubicBezTo>
                    <a:pt x="0" y="20"/>
                    <a:pt x="8" y="17"/>
                    <a:pt x="19" y="16"/>
                  </a:cubicBezTo>
                  <a:cubicBezTo>
                    <a:pt x="29" y="16"/>
                    <a:pt x="47" y="14"/>
                    <a:pt x="51" y="19"/>
                  </a:cubicBezTo>
                  <a:cubicBezTo>
                    <a:pt x="54" y="25"/>
                    <a:pt x="70" y="34"/>
                    <a:pt x="75" y="39"/>
                  </a:cubicBezTo>
                  <a:cubicBezTo>
                    <a:pt x="79" y="44"/>
                    <a:pt x="94" y="45"/>
                    <a:pt x="95" y="40"/>
                  </a:cubicBezTo>
                  <a:cubicBezTo>
                    <a:pt x="96" y="35"/>
                    <a:pt x="85" y="23"/>
                    <a:pt x="78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22" name="Freeform 19">
              <a:extLst>
                <a:ext uri="{FF2B5EF4-FFF2-40B4-BE49-F238E27FC236}">
                  <a16:creationId xmlns:a16="http://schemas.microsoft.com/office/drawing/2014/main" id="{A59C9E76-9172-47AE-9BD6-F28432423A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1988" y="2506663"/>
              <a:ext cx="38100" cy="26988"/>
            </a:xfrm>
            <a:custGeom>
              <a:avLst/>
              <a:gdLst>
                <a:gd name="T0" fmla="*/ 11 w 21"/>
                <a:gd name="T1" fmla="*/ 13 h 15"/>
                <a:gd name="T2" fmla="*/ 11 w 21"/>
                <a:gd name="T3" fmla="*/ 13 h 15"/>
                <a:gd name="T4" fmla="*/ 8 w 21"/>
                <a:gd name="T5" fmla="*/ 1 h 15"/>
                <a:gd name="T6" fmla="*/ 11 w 21"/>
                <a:gd name="T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5">
                  <a:moveTo>
                    <a:pt x="11" y="13"/>
                  </a:moveTo>
                  <a:lnTo>
                    <a:pt x="11" y="13"/>
                  </a:lnTo>
                  <a:cubicBezTo>
                    <a:pt x="21" y="10"/>
                    <a:pt x="16" y="0"/>
                    <a:pt x="8" y="1"/>
                  </a:cubicBezTo>
                  <a:cubicBezTo>
                    <a:pt x="0" y="3"/>
                    <a:pt x="1" y="15"/>
                    <a:pt x="11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23" name="Freeform 20">
              <a:extLst>
                <a:ext uri="{FF2B5EF4-FFF2-40B4-BE49-F238E27FC236}">
                  <a16:creationId xmlns:a16="http://schemas.microsoft.com/office/drawing/2014/main" id="{48B03854-A7FE-4D45-92DA-A0E1E43B5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8338" y="2679700"/>
              <a:ext cx="39688" cy="42863"/>
            </a:xfrm>
            <a:custGeom>
              <a:avLst/>
              <a:gdLst>
                <a:gd name="T0" fmla="*/ 8 w 22"/>
                <a:gd name="T1" fmla="*/ 2 h 24"/>
                <a:gd name="T2" fmla="*/ 8 w 22"/>
                <a:gd name="T3" fmla="*/ 2 h 24"/>
                <a:gd name="T4" fmla="*/ 12 w 22"/>
                <a:gd name="T5" fmla="*/ 20 h 24"/>
                <a:gd name="T6" fmla="*/ 8 w 22"/>
                <a:gd name="T7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4">
                  <a:moveTo>
                    <a:pt x="8" y="2"/>
                  </a:moveTo>
                  <a:lnTo>
                    <a:pt x="8" y="2"/>
                  </a:lnTo>
                  <a:cubicBezTo>
                    <a:pt x="0" y="3"/>
                    <a:pt x="2" y="24"/>
                    <a:pt x="12" y="20"/>
                  </a:cubicBezTo>
                  <a:cubicBezTo>
                    <a:pt x="22" y="17"/>
                    <a:pt x="16" y="0"/>
                    <a:pt x="8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24" name="Freeform 21">
              <a:extLst>
                <a:ext uri="{FF2B5EF4-FFF2-40B4-BE49-F238E27FC236}">
                  <a16:creationId xmlns:a16="http://schemas.microsoft.com/office/drawing/2014/main" id="{B3B96E8D-431C-4575-9BC0-AE1A3CBD4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55826" y="2654300"/>
              <a:ext cx="41275" cy="44450"/>
            </a:xfrm>
            <a:custGeom>
              <a:avLst/>
              <a:gdLst>
                <a:gd name="T0" fmla="*/ 9 w 23"/>
                <a:gd name="T1" fmla="*/ 2 h 25"/>
                <a:gd name="T2" fmla="*/ 9 w 23"/>
                <a:gd name="T3" fmla="*/ 2 h 25"/>
                <a:gd name="T4" fmla="*/ 12 w 23"/>
                <a:gd name="T5" fmla="*/ 21 h 25"/>
                <a:gd name="T6" fmla="*/ 9 w 23"/>
                <a:gd name="T7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5">
                  <a:moveTo>
                    <a:pt x="9" y="2"/>
                  </a:moveTo>
                  <a:lnTo>
                    <a:pt x="9" y="2"/>
                  </a:lnTo>
                  <a:cubicBezTo>
                    <a:pt x="0" y="4"/>
                    <a:pt x="2" y="25"/>
                    <a:pt x="12" y="21"/>
                  </a:cubicBezTo>
                  <a:cubicBezTo>
                    <a:pt x="23" y="18"/>
                    <a:pt x="17" y="0"/>
                    <a:pt x="9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25" name="Freeform 22">
              <a:extLst>
                <a:ext uri="{FF2B5EF4-FFF2-40B4-BE49-F238E27FC236}">
                  <a16:creationId xmlns:a16="http://schemas.microsoft.com/office/drawing/2014/main" id="{5857B7DE-C730-4560-A3A7-620A2FE68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7713" y="2627313"/>
              <a:ext cx="112713" cy="74613"/>
            </a:xfrm>
            <a:custGeom>
              <a:avLst/>
              <a:gdLst>
                <a:gd name="T0" fmla="*/ 43 w 63"/>
                <a:gd name="T1" fmla="*/ 2 h 42"/>
                <a:gd name="T2" fmla="*/ 43 w 63"/>
                <a:gd name="T3" fmla="*/ 2 h 42"/>
                <a:gd name="T4" fmla="*/ 22 w 63"/>
                <a:gd name="T5" fmla="*/ 3 h 42"/>
                <a:gd name="T6" fmla="*/ 0 w 63"/>
                <a:gd name="T7" fmla="*/ 22 h 42"/>
                <a:gd name="T8" fmla="*/ 17 w 63"/>
                <a:gd name="T9" fmla="*/ 25 h 42"/>
                <a:gd name="T10" fmla="*/ 33 w 63"/>
                <a:gd name="T11" fmla="*/ 33 h 42"/>
                <a:gd name="T12" fmla="*/ 52 w 63"/>
                <a:gd name="T13" fmla="*/ 28 h 42"/>
                <a:gd name="T14" fmla="*/ 62 w 63"/>
                <a:gd name="T15" fmla="*/ 27 h 42"/>
                <a:gd name="T16" fmla="*/ 43 w 63"/>
                <a:gd name="T17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" h="42">
                  <a:moveTo>
                    <a:pt x="43" y="2"/>
                  </a:moveTo>
                  <a:lnTo>
                    <a:pt x="43" y="2"/>
                  </a:lnTo>
                  <a:cubicBezTo>
                    <a:pt x="36" y="0"/>
                    <a:pt x="27" y="2"/>
                    <a:pt x="22" y="3"/>
                  </a:cubicBezTo>
                  <a:cubicBezTo>
                    <a:pt x="16" y="5"/>
                    <a:pt x="0" y="22"/>
                    <a:pt x="0" y="22"/>
                  </a:cubicBezTo>
                  <a:cubicBezTo>
                    <a:pt x="0" y="22"/>
                    <a:pt x="10" y="25"/>
                    <a:pt x="17" y="25"/>
                  </a:cubicBezTo>
                  <a:cubicBezTo>
                    <a:pt x="23" y="25"/>
                    <a:pt x="27" y="29"/>
                    <a:pt x="33" y="33"/>
                  </a:cubicBezTo>
                  <a:cubicBezTo>
                    <a:pt x="38" y="36"/>
                    <a:pt x="49" y="28"/>
                    <a:pt x="52" y="28"/>
                  </a:cubicBezTo>
                  <a:cubicBezTo>
                    <a:pt x="56" y="28"/>
                    <a:pt x="61" y="42"/>
                    <a:pt x="62" y="27"/>
                  </a:cubicBezTo>
                  <a:cubicBezTo>
                    <a:pt x="63" y="11"/>
                    <a:pt x="51" y="5"/>
                    <a:pt x="43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26" name="Freeform 23">
              <a:extLst>
                <a:ext uri="{FF2B5EF4-FFF2-40B4-BE49-F238E27FC236}">
                  <a16:creationId xmlns:a16="http://schemas.microsoft.com/office/drawing/2014/main" id="{01436AEC-6B97-4D28-A9F5-EB761726D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2113" y="3359150"/>
              <a:ext cx="127000" cy="303213"/>
            </a:xfrm>
            <a:custGeom>
              <a:avLst/>
              <a:gdLst>
                <a:gd name="T0" fmla="*/ 45 w 71"/>
                <a:gd name="T1" fmla="*/ 29 h 169"/>
                <a:gd name="T2" fmla="*/ 45 w 71"/>
                <a:gd name="T3" fmla="*/ 29 h 169"/>
                <a:gd name="T4" fmla="*/ 26 w 71"/>
                <a:gd name="T5" fmla="*/ 51 h 169"/>
                <a:gd name="T6" fmla="*/ 10 w 71"/>
                <a:gd name="T7" fmla="*/ 76 h 169"/>
                <a:gd name="T8" fmla="*/ 6 w 71"/>
                <a:gd name="T9" fmla="*/ 113 h 169"/>
                <a:gd name="T10" fmla="*/ 6 w 71"/>
                <a:gd name="T11" fmla="*/ 151 h 169"/>
                <a:gd name="T12" fmla="*/ 17 w 71"/>
                <a:gd name="T13" fmla="*/ 167 h 169"/>
                <a:gd name="T14" fmla="*/ 37 w 71"/>
                <a:gd name="T15" fmla="*/ 147 h 169"/>
                <a:gd name="T16" fmla="*/ 50 w 71"/>
                <a:gd name="T17" fmla="*/ 108 h 169"/>
                <a:gd name="T18" fmla="*/ 63 w 71"/>
                <a:gd name="T19" fmla="*/ 66 h 169"/>
                <a:gd name="T20" fmla="*/ 71 w 71"/>
                <a:gd name="T21" fmla="*/ 29 h 169"/>
                <a:gd name="T22" fmla="*/ 64 w 71"/>
                <a:gd name="T23" fmla="*/ 2 h 169"/>
                <a:gd name="T24" fmla="*/ 45 w 71"/>
                <a:gd name="T25" fmla="*/ 2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1" h="169">
                  <a:moveTo>
                    <a:pt x="45" y="29"/>
                  </a:moveTo>
                  <a:lnTo>
                    <a:pt x="45" y="29"/>
                  </a:lnTo>
                  <a:cubicBezTo>
                    <a:pt x="38" y="42"/>
                    <a:pt x="29" y="52"/>
                    <a:pt x="26" y="51"/>
                  </a:cubicBezTo>
                  <a:cubicBezTo>
                    <a:pt x="23" y="51"/>
                    <a:pt x="6" y="61"/>
                    <a:pt x="10" y="76"/>
                  </a:cubicBezTo>
                  <a:cubicBezTo>
                    <a:pt x="14" y="90"/>
                    <a:pt x="12" y="106"/>
                    <a:pt x="6" y="113"/>
                  </a:cubicBezTo>
                  <a:cubicBezTo>
                    <a:pt x="0" y="121"/>
                    <a:pt x="8" y="140"/>
                    <a:pt x="6" y="151"/>
                  </a:cubicBezTo>
                  <a:cubicBezTo>
                    <a:pt x="3" y="162"/>
                    <a:pt x="6" y="169"/>
                    <a:pt x="17" y="167"/>
                  </a:cubicBezTo>
                  <a:cubicBezTo>
                    <a:pt x="27" y="166"/>
                    <a:pt x="31" y="160"/>
                    <a:pt x="37" y="147"/>
                  </a:cubicBezTo>
                  <a:cubicBezTo>
                    <a:pt x="43" y="133"/>
                    <a:pt x="44" y="120"/>
                    <a:pt x="50" y="108"/>
                  </a:cubicBezTo>
                  <a:cubicBezTo>
                    <a:pt x="55" y="97"/>
                    <a:pt x="60" y="73"/>
                    <a:pt x="63" y="66"/>
                  </a:cubicBezTo>
                  <a:cubicBezTo>
                    <a:pt x="65" y="60"/>
                    <a:pt x="71" y="40"/>
                    <a:pt x="71" y="29"/>
                  </a:cubicBezTo>
                  <a:cubicBezTo>
                    <a:pt x="71" y="18"/>
                    <a:pt x="69" y="4"/>
                    <a:pt x="64" y="2"/>
                  </a:cubicBezTo>
                  <a:cubicBezTo>
                    <a:pt x="55" y="0"/>
                    <a:pt x="53" y="17"/>
                    <a:pt x="45" y="2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27" name="Freeform 24">
              <a:extLst>
                <a:ext uri="{FF2B5EF4-FFF2-40B4-BE49-F238E27FC236}">
                  <a16:creationId xmlns:a16="http://schemas.microsoft.com/office/drawing/2014/main" id="{525D27A4-D164-493E-B251-41BFB6A05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7751" y="2106613"/>
              <a:ext cx="49213" cy="52388"/>
            </a:xfrm>
            <a:custGeom>
              <a:avLst/>
              <a:gdLst>
                <a:gd name="T0" fmla="*/ 22 w 27"/>
                <a:gd name="T1" fmla="*/ 20 h 29"/>
                <a:gd name="T2" fmla="*/ 22 w 27"/>
                <a:gd name="T3" fmla="*/ 20 h 29"/>
                <a:gd name="T4" fmla="*/ 13 w 27"/>
                <a:gd name="T5" fmla="*/ 0 h 29"/>
                <a:gd name="T6" fmla="*/ 6 w 27"/>
                <a:gd name="T7" fmla="*/ 23 h 29"/>
                <a:gd name="T8" fmla="*/ 22 w 27"/>
                <a:gd name="T9" fmla="*/ 2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29">
                  <a:moveTo>
                    <a:pt x="22" y="20"/>
                  </a:moveTo>
                  <a:lnTo>
                    <a:pt x="22" y="20"/>
                  </a:lnTo>
                  <a:cubicBezTo>
                    <a:pt x="27" y="12"/>
                    <a:pt x="18" y="1"/>
                    <a:pt x="13" y="0"/>
                  </a:cubicBezTo>
                  <a:cubicBezTo>
                    <a:pt x="4" y="0"/>
                    <a:pt x="0" y="17"/>
                    <a:pt x="6" y="23"/>
                  </a:cubicBezTo>
                  <a:cubicBezTo>
                    <a:pt x="12" y="29"/>
                    <a:pt x="18" y="28"/>
                    <a:pt x="22" y="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28" name="Freeform 25">
              <a:extLst>
                <a:ext uri="{FF2B5EF4-FFF2-40B4-BE49-F238E27FC236}">
                  <a16:creationId xmlns:a16="http://schemas.microsoft.com/office/drawing/2014/main" id="{EAF78B45-B898-4482-BFA4-C18D2E9AA6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8213" y="2114550"/>
              <a:ext cx="23813" cy="31750"/>
            </a:xfrm>
            <a:custGeom>
              <a:avLst/>
              <a:gdLst>
                <a:gd name="T0" fmla="*/ 12 w 13"/>
                <a:gd name="T1" fmla="*/ 13 h 18"/>
                <a:gd name="T2" fmla="*/ 12 w 13"/>
                <a:gd name="T3" fmla="*/ 13 h 18"/>
                <a:gd name="T4" fmla="*/ 2 w 13"/>
                <a:gd name="T5" fmla="*/ 12 h 18"/>
                <a:gd name="T6" fmla="*/ 12 w 13"/>
                <a:gd name="T7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8">
                  <a:moveTo>
                    <a:pt x="12" y="13"/>
                  </a:moveTo>
                  <a:lnTo>
                    <a:pt x="12" y="13"/>
                  </a:lnTo>
                  <a:cubicBezTo>
                    <a:pt x="13" y="9"/>
                    <a:pt x="8" y="0"/>
                    <a:pt x="2" y="12"/>
                  </a:cubicBezTo>
                  <a:cubicBezTo>
                    <a:pt x="0" y="16"/>
                    <a:pt x="10" y="18"/>
                    <a:pt x="12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29" name="Freeform 26">
              <a:extLst>
                <a:ext uri="{FF2B5EF4-FFF2-40B4-BE49-F238E27FC236}">
                  <a16:creationId xmlns:a16="http://schemas.microsoft.com/office/drawing/2014/main" id="{402F1962-E757-4AD0-A785-EF015036E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413" y="2171700"/>
              <a:ext cx="74613" cy="49213"/>
            </a:xfrm>
            <a:custGeom>
              <a:avLst/>
              <a:gdLst>
                <a:gd name="T0" fmla="*/ 14 w 42"/>
                <a:gd name="T1" fmla="*/ 16 h 28"/>
                <a:gd name="T2" fmla="*/ 14 w 42"/>
                <a:gd name="T3" fmla="*/ 16 h 28"/>
                <a:gd name="T4" fmla="*/ 26 w 42"/>
                <a:gd name="T5" fmla="*/ 27 h 28"/>
                <a:gd name="T6" fmla="*/ 38 w 42"/>
                <a:gd name="T7" fmla="*/ 16 h 28"/>
                <a:gd name="T8" fmla="*/ 23 w 42"/>
                <a:gd name="T9" fmla="*/ 4 h 28"/>
                <a:gd name="T10" fmla="*/ 3 w 42"/>
                <a:gd name="T11" fmla="*/ 3 h 28"/>
                <a:gd name="T12" fmla="*/ 14 w 42"/>
                <a:gd name="T13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8">
                  <a:moveTo>
                    <a:pt x="14" y="16"/>
                  </a:moveTo>
                  <a:lnTo>
                    <a:pt x="14" y="16"/>
                  </a:lnTo>
                  <a:cubicBezTo>
                    <a:pt x="19" y="19"/>
                    <a:pt x="22" y="26"/>
                    <a:pt x="26" y="27"/>
                  </a:cubicBezTo>
                  <a:cubicBezTo>
                    <a:pt x="30" y="28"/>
                    <a:pt x="42" y="28"/>
                    <a:pt x="38" y="16"/>
                  </a:cubicBezTo>
                  <a:cubicBezTo>
                    <a:pt x="34" y="5"/>
                    <a:pt x="25" y="4"/>
                    <a:pt x="23" y="4"/>
                  </a:cubicBezTo>
                  <a:cubicBezTo>
                    <a:pt x="20" y="4"/>
                    <a:pt x="8" y="0"/>
                    <a:pt x="3" y="3"/>
                  </a:cubicBezTo>
                  <a:cubicBezTo>
                    <a:pt x="0" y="6"/>
                    <a:pt x="9" y="14"/>
                    <a:pt x="14" y="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30" name="Freeform 27">
              <a:extLst>
                <a:ext uri="{FF2B5EF4-FFF2-40B4-BE49-F238E27FC236}">
                  <a16:creationId xmlns:a16="http://schemas.microsoft.com/office/drawing/2014/main" id="{071A7F12-4E0B-416F-81D6-F40C1647D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3576" y="1765300"/>
              <a:ext cx="98425" cy="98425"/>
            </a:xfrm>
            <a:custGeom>
              <a:avLst/>
              <a:gdLst>
                <a:gd name="T0" fmla="*/ 6 w 55"/>
                <a:gd name="T1" fmla="*/ 21 h 55"/>
                <a:gd name="T2" fmla="*/ 6 w 55"/>
                <a:gd name="T3" fmla="*/ 21 h 55"/>
                <a:gd name="T4" fmla="*/ 6 w 55"/>
                <a:gd name="T5" fmla="*/ 37 h 55"/>
                <a:gd name="T6" fmla="*/ 16 w 55"/>
                <a:gd name="T7" fmla="*/ 54 h 55"/>
                <a:gd name="T8" fmla="*/ 39 w 55"/>
                <a:gd name="T9" fmla="*/ 46 h 55"/>
                <a:gd name="T10" fmla="*/ 54 w 55"/>
                <a:gd name="T11" fmla="*/ 27 h 55"/>
                <a:gd name="T12" fmla="*/ 47 w 55"/>
                <a:gd name="T13" fmla="*/ 5 h 55"/>
                <a:gd name="T14" fmla="*/ 31 w 55"/>
                <a:gd name="T15" fmla="*/ 1 h 55"/>
                <a:gd name="T16" fmla="*/ 16 w 55"/>
                <a:gd name="T17" fmla="*/ 12 h 55"/>
                <a:gd name="T18" fmla="*/ 6 w 55"/>
                <a:gd name="T19" fmla="*/ 2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55">
                  <a:moveTo>
                    <a:pt x="6" y="21"/>
                  </a:moveTo>
                  <a:lnTo>
                    <a:pt x="6" y="21"/>
                  </a:lnTo>
                  <a:cubicBezTo>
                    <a:pt x="8" y="28"/>
                    <a:pt x="12" y="34"/>
                    <a:pt x="6" y="37"/>
                  </a:cubicBezTo>
                  <a:cubicBezTo>
                    <a:pt x="0" y="40"/>
                    <a:pt x="8" y="53"/>
                    <a:pt x="16" y="54"/>
                  </a:cubicBezTo>
                  <a:cubicBezTo>
                    <a:pt x="23" y="55"/>
                    <a:pt x="32" y="49"/>
                    <a:pt x="39" y="46"/>
                  </a:cubicBezTo>
                  <a:cubicBezTo>
                    <a:pt x="45" y="43"/>
                    <a:pt x="55" y="37"/>
                    <a:pt x="54" y="27"/>
                  </a:cubicBezTo>
                  <a:cubicBezTo>
                    <a:pt x="54" y="18"/>
                    <a:pt x="52" y="10"/>
                    <a:pt x="47" y="5"/>
                  </a:cubicBezTo>
                  <a:cubicBezTo>
                    <a:pt x="43" y="1"/>
                    <a:pt x="37" y="0"/>
                    <a:pt x="31" y="1"/>
                  </a:cubicBezTo>
                  <a:cubicBezTo>
                    <a:pt x="22" y="2"/>
                    <a:pt x="22" y="12"/>
                    <a:pt x="16" y="12"/>
                  </a:cubicBezTo>
                  <a:cubicBezTo>
                    <a:pt x="10" y="12"/>
                    <a:pt x="3" y="14"/>
                    <a:pt x="6" y="2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31" name="Freeform 28">
              <a:extLst>
                <a:ext uri="{FF2B5EF4-FFF2-40B4-BE49-F238E27FC236}">
                  <a16:creationId xmlns:a16="http://schemas.microsoft.com/office/drawing/2014/main" id="{88548FF3-A833-4CD5-982A-1C033BC30C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0726" y="1692275"/>
              <a:ext cx="200025" cy="198438"/>
            </a:xfrm>
            <a:custGeom>
              <a:avLst/>
              <a:gdLst>
                <a:gd name="T0" fmla="*/ 29 w 112"/>
                <a:gd name="T1" fmla="*/ 51 h 111"/>
                <a:gd name="T2" fmla="*/ 29 w 112"/>
                <a:gd name="T3" fmla="*/ 51 h 111"/>
                <a:gd name="T4" fmla="*/ 52 w 112"/>
                <a:gd name="T5" fmla="*/ 64 h 111"/>
                <a:gd name="T6" fmla="*/ 21 w 112"/>
                <a:gd name="T7" fmla="*/ 94 h 111"/>
                <a:gd name="T8" fmla="*/ 47 w 112"/>
                <a:gd name="T9" fmla="*/ 99 h 111"/>
                <a:gd name="T10" fmla="*/ 46 w 112"/>
                <a:gd name="T11" fmla="*/ 108 h 111"/>
                <a:gd name="T12" fmla="*/ 62 w 112"/>
                <a:gd name="T13" fmla="*/ 101 h 111"/>
                <a:gd name="T14" fmla="*/ 93 w 112"/>
                <a:gd name="T15" fmla="*/ 108 h 111"/>
                <a:gd name="T16" fmla="*/ 111 w 112"/>
                <a:gd name="T17" fmla="*/ 89 h 111"/>
                <a:gd name="T18" fmla="*/ 90 w 112"/>
                <a:gd name="T19" fmla="*/ 65 h 111"/>
                <a:gd name="T20" fmla="*/ 65 w 112"/>
                <a:gd name="T21" fmla="*/ 38 h 111"/>
                <a:gd name="T22" fmla="*/ 78 w 112"/>
                <a:gd name="T23" fmla="*/ 14 h 111"/>
                <a:gd name="T24" fmla="*/ 43 w 112"/>
                <a:gd name="T25" fmla="*/ 5 h 111"/>
                <a:gd name="T26" fmla="*/ 24 w 112"/>
                <a:gd name="T27" fmla="*/ 11 h 111"/>
                <a:gd name="T28" fmla="*/ 8 w 112"/>
                <a:gd name="T29" fmla="*/ 12 h 111"/>
                <a:gd name="T30" fmla="*/ 8 w 112"/>
                <a:gd name="T31" fmla="*/ 30 h 111"/>
                <a:gd name="T32" fmla="*/ 29 w 112"/>
                <a:gd name="T33" fmla="*/ 5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2" h="111">
                  <a:moveTo>
                    <a:pt x="29" y="51"/>
                  </a:moveTo>
                  <a:lnTo>
                    <a:pt x="29" y="51"/>
                  </a:lnTo>
                  <a:cubicBezTo>
                    <a:pt x="39" y="55"/>
                    <a:pt x="59" y="60"/>
                    <a:pt x="52" y="64"/>
                  </a:cubicBezTo>
                  <a:cubicBezTo>
                    <a:pt x="45" y="68"/>
                    <a:pt x="23" y="88"/>
                    <a:pt x="21" y="94"/>
                  </a:cubicBezTo>
                  <a:cubicBezTo>
                    <a:pt x="20" y="101"/>
                    <a:pt x="47" y="99"/>
                    <a:pt x="47" y="99"/>
                  </a:cubicBezTo>
                  <a:cubicBezTo>
                    <a:pt x="47" y="99"/>
                    <a:pt x="41" y="106"/>
                    <a:pt x="46" y="108"/>
                  </a:cubicBezTo>
                  <a:cubicBezTo>
                    <a:pt x="51" y="111"/>
                    <a:pt x="54" y="101"/>
                    <a:pt x="62" y="101"/>
                  </a:cubicBezTo>
                  <a:cubicBezTo>
                    <a:pt x="69" y="102"/>
                    <a:pt x="85" y="107"/>
                    <a:pt x="93" y="108"/>
                  </a:cubicBezTo>
                  <a:cubicBezTo>
                    <a:pt x="100" y="108"/>
                    <a:pt x="112" y="97"/>
                    <a:pt x="111" y="89"/>
                  </a:cubicBezTo>
                  <a:cubicBezTo>
                    <a:pt x="109" y="82"/>
                    <a:pt x="99" y="70"/>
                    <a:pt x="90" y="65"/>
                  </a:cubicBezTo>
                  <a:cubicBezTo>
                    <a:pt x="81" y="61"/>
                    <a:pt x="71" y="42"/>
                    <a:pt x="65" y="38"/>
                  </a:cubicBezTo>
                  <a:cubicBezTo>
                    <a:pt x="59" y="33"/>
                    <a:pt x="85" y="21"/>
                    <a:pt x="78" y="14"/>
                  </a:cubicBezTo>
                  <a:cubicBezTo>
                    <a:pt x="70" y="7"/>
                    <a:pt x="51" y="10"/>
                    <a:pt x="43" y="5"/>
                  </a:cubicBezTo>
                  <a:cubicBezTo>
                    <a:pt x="35" y="0"/>
                    <a:pt x="29" y="5"/>
                    <a:pt x="24" y="11"/>
                  </a:cubicBezTo>
                  <a:cubicBezTo>
                    <a:pt x="20" y="17"/>
                    <a:pt x="14" y="10"/>
                    <a:pt x="8" y="12"/>
                  </a:cubicBezTo>
                  <a:cubicBezTo>
                    <a:pt x="0" y="14"/>
                    <a:pt x="4" y="25"/>
                    <a:pt x="8" y="30"/>
                  </a:cubicBezTo>
                  <a:cubicBezTo>
                    <a:pt x="12" y="35"/>
                    <a:pt x="19" y="47"/>
                    <a:pt x="29" y="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  <p:sp>
          <p:nvSpPr>
            <p:cNvPr id="233" name="Freeform 30">
              <a:extLst>
                <a:ext uri="{FF2B5EF4-FFF2-40B4-BE49-F238E27FC236}">
                  <a16:creationId xmlns:a16="http://schemas.microsoft.com/office/drawing/2014/main" id="{CDD93310-A764-4965-9FAF-DA72812A1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251" y="1798638"/>
              <a:ext cx="25400" cy="46038"/>
            </a:xfrm>
            <a:custGeom>
              <a:avLst/>
              <a:gdLst>
                <a:gd name="T0" fmla="*/ 4 w 15"/>
                <a:gd name="T1" fmla="*/ 25 h 26"/>
                <a:gd name="T2" fmla="*/ 4 w 15"/>
                <a:gd name="T3" fmla="*/ 25 h 26"/>
                <a:gd name="T4" fmla="*/ 15 w 15"/>
                <a:gd name="T5" fmla="*/ 26 h 26"/>
                <a:gd name="T6" fmla="*/ 7 w 15"/>
                <a:gd name="T7" fmla="*/ 10 h 26"/>
                <a:gd name="T8" fmla="*/ 2 w 15"/>
                <a:gd name="T9" fmla="*/ 0 h 26"/>
                <a:gd name="T10" fmla="*/ 0 w 15"/>
                <a:gd name="T11" fmla="*/ 1 h 26"/>
                <a:gd name="T12" fmla="*/ 2 w 15"/>
                <a:gd name="T13" fmla="*/ 9 h 26"/>
                <a:gd name="T14" fmla="*/ 4 w 15"/>
                <a:gd name="T1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6">
                  <a:moveTo>
                    <a:pt x="4" y="25"/>
                  </a:moveTo>
                  <a:lnTo>
                    <a:pt x="4" y="25"/>
                  </a:lnTo>
                  <a:cubicBezTo>
                    <a:pt x="4" y="25"/>
                    <a:pt x="4" y="25"/>
                    <a:pt x="15" y="26"/>
                  </a:cubicBezTo>
                  <a:cubicBezTo>
                    <a:pt x="12" y="26"/>
                    <a:pt x="8" y="9"/>
                    <a:pt x="7" y="10"/>
                  </a:cubicBezTo>
                  <a:cubicBezTo>
                    <a:pt x="5" y="10"/>
                    <a:pt x="3" y="1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5"/>
                    <a:pt x="1" y="8"/>
                    <a:pt x="2" y="9"/>
                  </a:cubicBezTo>
                  <a:cubicBezTo>
                    <a:pt x="3" y="14"/>
                    <a:pt x="4" y="20"/>
                    <a:pt x="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endParaRPr>
            </a:p>
          </p:txBody>
        </p:sp>
      </p:grpSp>
      <p:sp>
        <p:nvSpPr>
          <p:cNvPr id="92" name="Oval 44">
            <a:extLst>
              <a:ext uri="{FF2B5EF4-FFF2-40B4-BE49-F238E27FC236}">
                <a16:creationId xmlns:a16="http://schemas.microsoft.com/office/drawing/2014/main" id="{C86F276B-A597-55D4-0F0F-79EE2FB877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6078" y="1439908"/>
            <a:ext cx="650316" cy="503960"/>
          </a:xfrm>
          <a:prstGeom prst="ellipse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6.3</a:t>
            </a:r>
          </a:p>
        </p:txBody>
      </p:sp>
      <p:sp>
        <p:nvSpPr>
          <p:cNvPr id="93" name="Oval 44">
            <a:extLst>
              <a:ext uri="{FF2B5EF4-FFF2-40B4-BE49-F238E27FC236}">
                <a16:creationId xmlns:a16="http://schemas.microsoft.com/office/drawing/2014/main" id="{B0546AA3-BBC4-DB41-D1E8-5834DDFBD3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2562" y="3183752"/>
            <a:ext cx="650316" cy="503960"/>
          </a:xfrm>
          <a:prstGeom prst="ellipse">
            <a:avLst/>
          </a:prstGeom>
          <a:solidFill>
            <a:schemeClr val="accent4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6.4</a:t>
            </a:r>
          </a:p>
        </p:txBody>
      </p:sp>
      <p:sp>
        <p:nvSpPr>
          <p:cNvPr id="94" name="Oval 42">
            <a:extLst>
              <a:ext uri="{FF2B5EF4-FFF2-40B4-BE49-F238E27FC236}">
                <a16:creationId xmlns:a16="http://schemas.microsoft.com/office/drawing/2014/main" id="{7565A288-C8B2-7A7F-E196-6D0BF5CE11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5058" y="4384165"/>
            <a:ext cx="647820" cy="503958"/>
          </a:xfrm>
          <a:prstGeom prst="ellipse">
            <a:avLst/>
          </a:prstGeom>
          <a:solidFill>
            <a:schemeClr val="accent5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6.5</a:t>
            </a:r>
          </a:p>
        </p:txBody>
      </p:sp>
      <p:sp>
        <p:nvSpPr>
          <p:cNvPr id="85" name="Oval 42">
            <a:extLst>
              <a:ext uri="{FF2B5EF4-FFF2-40B4-BE49-F238E27FC236}">
                <a16:creationId xmlns:a16="http://schemas.microsoft.com/office/drawing/2014/main" id="{782D8467-DAE2-D61C-5DFA-531D8445C4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43760" y="5820735"/>
            <a:ext cx="647820" cy="503958"/>
          </a:xfrm>
          <a:prstGeom prst="ellipse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6.A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6.B</a:t>
            </a:r>
          </a:p>
        </p:txBody>
      </p:sp>
      <p:sp>
        <p:nvSpPr>
          <p:cNvPr id="69" name="Rectangle 33">
            <a:extLst>
              <a:ext uri="{FF2B5EF4-FFF2-40B4-BE49-F238E27FC236}">
                <a16:creationId xmlns:a16="http://schemas.microsoft.com/office/drawing/2014/main" id="{FED5EAE5-B53D-CE12-5EA4-DB71C9ABF255}"/>
              </a:ext>
            </a:extLst>
          </p:cNvPr>
          <p:cNvSpPr/>
          <p:nvPr/>
        </p:nvSpPr>
        <p:spPr>
          <a:xfrm>
            <a:off x="5705601" y="837586"/>
            <a:ext cx="2233839" cy="698653"/>
          </a:xfrm>
          <a:prstGeom prst="rect">
            <a:avLst/>
          </a:prstGeom>
        </p:spPr>
        <p:txBody>
          <a:bodyPr wrap="square" lIns="243840" rIns="243840" bIns="97536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ntinuidad en la prestación del servicio de acueducto </a:t>
            </a:r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1" name="Rounded Rectangle 26">
            <a:extLst>
              <a:ext uri="{FF2B5EF4-FFF2-40B4-BE49-F238E27FC236}">
                <a16:creationId xmlns:a16="http://schemas.microsoft.com/office/drawing/2014/main" id="{13D7ACDB-DFE1-23FF-31CB-6EE762C0C002}"/>
              </a:ext>
            </a:extLst>
          </p:cNvPr>
          <p:cNvSpPr/>
          <p:nvPr/>
        </p:nvSpPr>
        <p:spPr>
          <a:xfrm>
            <a:off x="516400" y="4701247"/>
            <a:ext cx="1774624" cy="515784"/>
          </a:xfrm>
          <a:prstGeom prst="roundRect">
            <a:avLst>
              <a:gd name="adj" fmla="val 50000"/>
            </a:avLst>
          </a:prstGeom>
          <a:solidFill>
            <a:srgbClr val="385723"/>
          </a:solidFill>
          <a:ln>
            <a:solidFill>
              <a:srgbClr val="385723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48201" tIns="48201" rIns="48201" bIns="48201" numCol="1" spcCol="1270" anchor="ctr" anchorCtr="0">
            <a:noAutofit/>
          </a:bodyPr>
          <a:lstStyle/>
          <a:p>
            <a:pPr marL="0" marR="0" lvl="0" indent="0" algn="ctr" defTabSz="9482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OSTENIBILIDAD AMBIENTAL</a:t>
            </a:r>
          </a:p>
        </p:txBody>
      </p:sp>
      <p:cxnSp>
        <p:nvCxnSpPr>
          <p:cNvPr id="82" name="Elbow Connector 42">
            <a:extLst>
              <a:ext uri="{FF2B5EF4-FFF2-40B4-BE49-F238E27FC236}">
                <a16:creationId xmlns:a16="http://schemas.microsoft.com/office/drawing/2014/main" id="{92C16A71-D4BB-DD26-AD85-39220B1E00BA}"/>
              </a:ext>
            </a:extLst>
          </p:cNvPr>
          <p:cNvCxnSpPr>
            <a:cxnSpLocks/>
            <a:stCxn id="81" idx="3"/>
            <a:endCxn id="83" idx="2"/>
          </p:cNvCxnSpPr>
          <p:nvPr/>
        </p:nvCxnSpPr>
        <p:spPr>
          <a:xfrm flipV="1">
            <a:off x="2291024" y="4589315"/>
            <a:ext cx="376644" cy="369824"/>
          </a:xfrm>
          <a:prstGeom prst="bentConnector3">
            <a:avLst/>
          </a:prstGeom>
          <a:ln w="3175" cmpd="sng">
            <a:solidFill>
              <a:srgbClr val="385723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Freeform 51">
            <a:extLst>
              <a:ext uri="{FF2B5EF4-FFF2-40B4-BE49-F238E27FC236}">
                <a16:creationId xmlns:a16="http://schemas.microsoft.com/office/drawing/2014/main" id="{2F5029C3-B2F8-D69D-DBEA-87BAF3C72CC4}"/>
              </a:ext>
            </a:extLst>
          </p:cNvPr>
          <p:cNvSpPr/>
          <p:nvPr/>
        </p:nvSpPr>
        <p:spPr>
          <a:xfrm rot="10800000" flipV="1">
            <a:off x="2667668" y="4371239"/>
            <a:ext cx="438395" cy="436152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rgbClr val="385723"/>
          </a:solidFill>
          <a:ln>
            <a:solidFill>
              <a:srgbClr val="385723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76553" tIns="275211" rIns="276553" bIns="275211" numCol="1" spcCol="1270" anchor="ctr" anchorCtr="0">
            <a:noAutofit/>
          </a:bodyPr>
          <a:lstStyle/>
          <a:p>
            <a:pPr marL="0" marR="0" lvl="0" indent="0" algn="ctr" defTabSz="9482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</a:p>
        </p:txBody>
      </p:sp>
      <p:sp>
        <p:nvSpPr>
          <p:cNvPr id="96" name="Freeform 51">
            <a:extLst>
              <a:ext uri="{FF2B5EF4-FFF2-40B4-BE49-F238E27FC236}">
                <a16:creationId xmlns:a16="http://schemas.microsoft.com/office/drawing/2014/main" id="{76B96BF8-6AD3-9DFD-1CCB-811A4A75FCB0}"/>
              </a:ext>
            </a:extLst>
          </p:cNvPr>
          <p:cNvSpPr/>
          <p:nvPr/>
        </p:nvSpPr>
        <p:spPr>
          <a:xfrm rot="10800000" flipV="1">
            <a:off x="2679022" y="5136923"/>
            <a:ext cx="438395" cy="436152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rgbClr val="385723"/>
          </a:solidFill>
          <a:ln>
            <a:solidFill>
              <a:srgbClr val="385723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76553" tIns="275211" rIns="276553" bIns="275211" numCol="1" spcCol="1270" anchor="ctr" anchorCtr="0">
            <a:noAutofit/>
          </a:bodyPr>
          <a:lstStyle/>
          <a:p>
            <a:pPr marL="0" marR="0" lvl="0" indent="0" algn="ctr" defTabSz="9482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</a:t>
            </a:r>
          </a:p>
        </p:txBody>
      </p:sp>
      <p:cxnSp>
        <p:nvCxnSpPr>
          <p:cNvPr id="98" name="Elbow Connector 42">
            <a:extLst>
              <a:ext uri="{FF2B5EF4-FFF2-40B4-BE49-F238E27FC236}">
                <a16:creationId xmlns:a16="http://schemas.microsoft.com/office/drawing/2014/main" id="{514E0823-72F1-2926-4112-E3B7552FC7D9}"/>
              </a:ext>
            </a:extLst>
          </p:cNvPr>
          <p:cNvCxnSpPr>
            <a:cxnSpLocks/>
            <a:stCxn id="81" idx="3"/>
            <a:endCxn id="96" idx="2"/>
          </p:cNvCxnSpPr>
          <p:nvPr/>
        </p:nvCxnSpPr>
        <p:spPr>
          <a:xfrm>
            <a:off x="2291024" y="4959139"/>
            <a:ext cx="387998" cy="395860"/>
          </a:xfrm>
          <a:prstGeom prst="bentConnector3">
            <a:avLst/>
          </a:prstGeom>
          <a:ln w="3175" cmpd="sng">
            <a:solidFill>
              <a:srgbClr val="385723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0" name="Rounded Rectangle 26">
            <a:extLst>
              <a:ext uri="{FF2B5EF4-FFF2-40B4-BE49-F238E27FC236}">
                <a16:creationId xmlns:a16="http://schemas.microsoft.com/office/drawing/2014/main" id="{661A2D66-7ED5-BE4E-1EE9-61E3B6ED4C23}"/>
              </a:ext>
            </a:extLst>
          </p:cNvPr>
          <p:cNvSpPr/>
          <p:nvPr/>
        </p:nvSpPr>
        <p:spPr>
          <a:xfrm>
            <a:off x="516399" y="5831044"/>
            <a:ext cx="1774624" cy="515784"/>
          </a:xfrm>
          <a:prstGeom prst="roundRect">
            <a:avLst>
              <a:gd name="adj" fmla="val 50000"/>
            </a:avLst>
          </a:prstGeom>
          <a:solidFill>
            <a:srgbClr val="9CCA7C"/>
          </a:solidFill>
          <a:ln>
            <a:solidFill>
              <a:srgbClr val="9CCA7C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48201" tIns="48201" rIns="48201" bIns="48201" numCol="1" spcCol="1270" anchor="ctr" anchorCtr="0">
            <a:noAutofit/>
          </a:bodyPr>
          <a:lstStyle/>
          <a:p>
            <a:pPr marL="0" marR="0" lvl="0" indent="0" algn="ctr" defTabSz="9482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OBIERNO CORPORATIVO</a:t>
            </a:r>
          </a:p>
        </p:txBody>
      </p:sp>
      <p:cxnSp>
        <p:nvCxnSpPr>
          <p:cNvPr id="111" name="Elbow Connector 42">
            <a:extLst>
              <a:ext uri="{FF2B5EF4-FFF2-40B4-BE49-F238E27FC236}">
                <a16:creationId xmlns:a16="http://schemas.microsoft.com/office/drawing/2014/main" id="{2664F4B0-79A6-D335-DD37-AD36E0DFD520}"/>
              </a:ext>
            </a:extLst>
          </p:cNvPr>
          <p:cNvCxnSpPr>
            <a:cxnSpLocks/>
            <a:stCxn id="110" idx="3"/>
            <a:endCxn id="112" idx="2"/>
          </p:cNvCxnSpPr>
          <p:nvPr/>
        </p:nvCxnSpPr>
        <p:spPr>
          <a:xfrm>
            <a:off x="2291023" y="6088936"/>
            <a:ext cx="373272" cy="3623"/>
          </a:xfrm>
          <a:prstGeom prst="bentConnector3">
            <a:avLst/>
          </a:prstGeom>
          <a:ln w="3175" cmpd="sng">
            <a:solidFill>
              <a:srgbClr val="9CCA7C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Freeform 51">
            <a:extLst>
              <a:ext uri="{FF2B5EF4-FFF2-40B4-BE49-F238E27FC236}">
                <a16:creationId xmlns:a16="http://schemas.microsoft.com/office/drawing/2014/main" id="{8659C4C2-BFC3-1E42-25ED-651DEA658EE8}"/>
              </a:ext>
            </a:extLst>
          </p:cNvPr>
          <p:cNvSpPr/>
          <p:nvPr/>
        </p:nvSpPr>
        <p:spPr>
          <a:xfrm rot="10800000" flipV="1">
            <a:off x="2664295" y="5874483"/>
            <a:ext cx="438395" cy="436152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rgbClr val="9CCA7C"/>
          </a:solidFill>
          <a:ln>
            <a:solidFill>
              <a:srgbClr val="9CCA7C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76553" tIns="275211" rIns="276553" bIns="275211" numCol="1" spcCol="1270" anchor="ctr" anchorCtr="0">
            <a:noAutofit/>
          </a:bodyPr>
          <a:lstStyle/>
          <a:p>
            <a:pPr marL="0" marR="0" lvl="0" indent="0" algn="ctr" defTabSz="9482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</a:t>
            </a:r>
          </a:p>
        </p:txBody>
      </p:sp>
      <p:sp>
        <p:nvSpPr>
          <p:cNvPr id="113" name="Rectangle 32">
            <a:extLst>
              <a:ext uri="{FF2B5EF4-FFF2-40B4-BE49-F238E27FC236}">
                <a16:creationId xmlns:a16="http://schemas.microsoft.com/office/drawing/2014/main" id="{98DA0BC6-D4D8-A718-BC4E-0433A830B150}"/>
              </a:ext>
            </a:extLst>
          </p:cNvPr>
          <p:cNvSpPr/>
          <p:nvPr/>
        </p:nvSpPr>
        <p:spPr>
          <a:xfrm>
            <a:off x="2953291" y="5889548"/>
            <a:ext cx="2588736" cy="473335"/>
          </a:xfrm>
          <a:prstGeom prst="rect">
            <a:avLst/>
          </a:prstGeom>
        </p:spPr>
        <p:txBody>
          <a:bodyPr wrap="square" lIns="243840" rIns="243840" bIns="97536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7EC44E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mplementar un nuevo modelo de gobierno corporativo</a:t>
            </a:r>
          </a:p>
        </p:txBody>
      </p:sp>
      <p:sp>
        <p:nvSpPr>
          <p:cNvPr id="101" name="CuadroTexto 100">
            <a:extLst>
              <a:ext uri="{FF2B5EF4-FFF2-40B4-BE49-F238E27FC236}">
                <a16:creationId xmlns:a16="http://schemas.microsoft.com/office/drawing/2014/main" id="{2401AD2D-18E3-923E-96DC-B15F7A874141}"/>
              </a:ext>
            </a:extLst>
          </p:cNvPr>
          <p:cNvSpPr txBox="1"/>
          <p:nvPr/>
        </p:nvSpPr>
        <p:spPr>
          <a:xfrm>
            <a:off x="2813140" y="340030"/>
            <a:ext cx="24480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1" i="0" u="none" strike="noStrike" kern="1200" cap="none" spc="0" normalizeH="0" baseline="0" noProof="0" dirty="0">
                <a:ln>
                  <a:noFill/>
                </a:ln>
                <a:solidFill>
                  <a:srgbClr val="2B2B2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BJETIVO ESTRATÉGICO</a:t>
            </a:r>
          </a:p>
        </p:txBody>
      </p:sp>
      <p:sp>
        <p:nvSpPr>
          <p:cNvPr id="102" name="CuadroTexto 101">
            <a:extLst>
              <a:ext uri="{FF2B5EF4-FFF2-40B4-BE49-F238E27FC236}">
                <a16:creationId xmlns:a16="http://schemas.microsoft.com/office/drawing/2014/main" id="{B9B44681-774E-5FDE-DA7B-F9F186FF494D}"/>
              </a:ext>
            </a:extLst>
          </p:cNvPr>
          <p:cNvSpPr txBox="1"/>
          <p:nvPr/>
        </p:nvSpPr>
        <p:spPr>
          <a:xfrm>
            <a:off x="700379" y="341895"/>
            <a:ext cx="15109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1" i="0" u="none" strike="noStrike" kern="1200" cap="none" spc="0" normalizeH="0" baseline="0" noProof="0" dirty="0">
                <a:ln>
                  <a:noFill/>
                </a:ln>
                <a:solidFill>
                  <a:srgbClr val="2B2B2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MPONENTE</a:t>
            </a:r>
          </a:p>
        </p:txBody>
      </p:sp>
      <p:sp>
        <p:nvSpPr>
          <p:cNvPr id="108" name="CuadroTexto 107">
            <a:extLst>
              <a:ext uri="{FF2B5EF4-FFF2-40B4-BE49-F238E27FC236}">
                <a16:creationId xmlns:a16="http://schemas.microsoft.com/office/drawing/2014/main" id="{F6F05833-02D3-DB9D-49AB-187B4EB84B09}"/>
              </a:ext>
            </a:extLst>
          </p:cNvPr>
          <p:cNvSpPr txBox="1"/>
          <p:nvPr/>
        </p:nvSpPr>
        <p:spPr>
          <a:xfrm>
            <a:off x="5554858" y="341895"/>
            <a:ext cx="24480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1" i="0" u="none" strike="noStrike" kern="1200" cap="none" spc="0" normalizeH="0" baseline="0" noProof="0" dirty="0">
                <a:ln>
                  <a:noFill/>
                </a:ln>
                <a:solidFill>
                  <a:srgbClr val="2B2B2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DICADOR ESTRATÉGICO</a:t>
            </a:r>
          </a:p>
        </p:txBody>
      </p:sp>
      <p:sp>
        <p:nvSpPr>
          <p:cNvPr id="109" name="CuadroTexto 108">
            <a:extLst>
              <a:ext uri="{FF2B5EF4-FFF2-40B4-BE49-F238E27FC236}">
                <a16:creationId xmlns:a16="http://schemas.microsoft.com/office/drawing/2014/main" id="{4B457E4E-5A7B-40AF-7D30-F91005FD8B15}"/>
              </a:ext>
            </a:extLst>
          </p:cNvPr>
          <p:cNvSpPr txBox="1"/>
          <p:nvPr/>
        </p:nvSpPr>
        <p:spPr>
          <a:xfrm>
            <a:off x="7343654" y="359864"/>
            <a:ext cx="24480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1" i="0" u="none" strike="noStrike" kern="1200" cap="none" spc="0" normalizeH="0" baseline="0" noProof="0" dirty="0">
                <a:ln>
                  <a:noFill/>
                </a:ln>
                <a:solidFill>
                  <a:srgbClr val="2B2B2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DS 6</a:t>
            </a:r>
          </a:p>
        </p:txBody>
      </p:sp>
      <p:sp>
        <p:nvSpPr>
          <p:cNvPr id="117" name="CuadroTexto 116">
            <a:extLst>
              <a:ext uri="{FF2B5EF4-FFF2-40B4-BE49-F238E27FC236}">
                <a16:creationId xmlns:a16="http://schemas.microsoft.com/office/drawing/2014/main" id="{85E13184-E196-46C7-8AB7-FE5DACF2BC14}"/>
              </a:ext>
            </a:extLst>
          </p:cNvPr>
          <p:cNvSpPr txBox="1"/>
          <p:nvPr/>
        </p:nvSpPr>
        <p:spPr>
          <a:xfrm>
            <a:off x="5721122" y="1516292"/>
            <a:ext cx="2180127" cy="329321"/>
          </a:xfrm>
          <a:prstGeom prst="rect">
            <a:avLst/>
          </a:prstGeom>
        </p:spPr>
        <p:txBody>
          <a:bodyPr wrap="square" lIns="243840" rIns="243840" bIns="97536">
            <a:spAutoFit/>
          </a:bodyPr>
          <a:lstStyle>
            <a:defPPr>
              <a:defRPr lang="es-AR"/>
            </a:defPPr>
            <a:lvl1pPr>
              <a:defRPr sz="1100">
                <a:solidFill>
                  <a:srgbClr val="7030A0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RCA </a:t>
            </a:r>
          </a:p>
        </p:txBody>
      </p:sp>
      <p:sp>
        <p:nvSpPr>
          <p:cNvPr id="119" name="CuadroTexto 118">
            <a:extLst>
              <a:ext uri="{FF2B5EF4-FFF2-40B4-BE49-F238E27FC236}">
                <a16:creationId xmlns:a16="http://schemas.microsoft.com/office/drawing/2014/main" id="{1CF5008F-FA32-E240-CC2D-21F8E5447F58}"/>
              </a:ext>
            </a:extLst>
          </p:cNvPr>
          <p:cNvSpPr txBox="1"/>
          <p:nvPr/>
        </p:nvSpPr>
        <p:spPr>
          <a:xfrm>
            <a:off x="5573515" y="2066316"/>
            <a:ext cx="2709009" cy="329321"/>
          </a:xfrm>
          <a:prstGeom prst="rect">
            <a:avLst/>
          </a:prstGeom>
        </p:spPr>
        <p:txBody>
          <a:bodyPr wrap="square" lIns="243840" rIns="243840" bIns="97536">
            <a:spAutoFit/>
          </a:bodyPr>
          <a:lstStyle>
            <a:defPPr>
              <a:defRPr lang="es-AR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AR" dirty="0">
                <a:solidFill>
                  <a:srgbClr val="843C0C"/>
                </a:solidFill>
              </a:rPr>
              <a:t>Cobertura de alcantarillado </a:t>
            </a:r>
          </a:p>
        </p:txBody>
      </p:sp>
      <p:sp>
        <p:nvSpPr>
          <p:cNvPr id="134" name="CuadroTexto 133">
            <a:extLst>
              <a:ext uri="{FF2B5EF4-FFF2-40B4-BE49-F238E27FC236}">
                <a16:creationId xmlns:a16="http://schemas.microsoft.com/office/drawing/2014/main" id="{2B90F781-CA40-EB49-158F-A00434410CD8}"/>
              </a:ext>
            </a:extLst>
          </p:cNvPr>
          <p:cNvSpPr txBox="1"/>
          <p:nvPr/>
        </p:nvSpPr>
        <p:spPr>
          <a:xfrm>
            <a:off x="3186894" y="2912403"/>
            <a:ext cx="231331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lcanzar un nivel eficiente de pérdidas de agu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ácticas de eficiencia en la gestión de las infraestructuras</a:t>
            </a:r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6" name="CuadroTexto 135">
            <a:extLst>
              <a:ext uri="{FF2B5EF4-FFF2-40B4-BE49-F238E27FC236}">
                <a16:creationId xmlns:a16="http://schemas.microsoft.com/office/drawing/2014/main" id="{5890A7D1-1259-5A0A-E386-7A1BE70862E2}"/>
              </a:ext>
            </a:extLst>
          </p:cNvPr>
          <p:cNvSpPr txBox="1"/>
          <p:nvPr/>
        </p:nvSpPr>
        <p:spPr>
          <a:xfrm>
            <a:off x="5674799" y="2865957"/>
            <a:ext cx="265229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AR"/>
            </a:defPPr>
            <a:lvl1pPr>
              <a:defRPr sz="1200">
                <a:solidFill>
                  <a:srgbClr val="ED7D3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PUF    |    </a:t>
            </a: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rcentaje agua no facturad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allas en la red de transporte y distribución acueducto | Fallas en la red de alcantarillado | Alcance del mantenimiento preventiv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8" name="CuadroTexto 137">
            <a:extLst>
              <a:ext uri="{FF2B5EF4-FFF2-40B4-BE49-F238E27FC236}">
                <a16:creationId xmlns:a16="http://schemas.microsoft.com/office/drawing/2014/main" id="{B07E56A8-924E-373C-0465-B44B0799A881}"/>
              </a:ext>
            </a:extLst>
          </p:cNvPr>
          <p:cNvSpPr txBox="1"/>
          <p:nvPr/>
        </p:nvSpPr>
        <p:spPr>
          <a:xfrm>
            <a:off x="3129502" y="4421055"/>
            <a:ext cx="249059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7EC44E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ntribuir a la gestión integral del agu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srgbClr val="7EC44E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>
              <a:defRPr/>
            </a:pPr>
            <a:endParaRPr lang="es-ES" sz="1200" dirty="0">
              <a:solidFill>
                <a:srgbClr val="7EC44E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7EC44E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rantizar la disposición eficiente de los vertimientos</a:t>
            </a:r>
          </a:p>
        </p:txBody>
      </p:sp>
      <p:sp>
        <p:nvSpPr>
          <p:cNvPr id="140" name="CuadroTexto 139">
            <a:extLst>
              <a:ext uri="{FF2B5EF4-FFF2-40B4-BE49-F238E27FC236}">
                <a16:creationId xmlns:a16="http://schemas.microsoft.com/office/drawing/2014/main" id="{16C462CC-7CAD-BDC8-E865-6C823EC782AC}"/>
              </a:ext>
            </a:extLst>
          </p:cNvPr>
          <p:cNvSpPr txBox="1"/>
          <p:nvPr/>
        </p:nvSpPr>
        <p:spPr>
          <a:xfrm>
            <a:off x="5751332" y="4511409"/>
            <a:ext cx="250267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7EC44E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olumen de agua captado (</a:t>
            </a:r>
            <a:r>
              <a:rPr kumimoji="0" lang="es-E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7EC44E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pcd</a:t>
            </a: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7EC44E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srgbClr val="7EC44E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200" b="0" i="0" u="none" strike="noStrike" kern="1200" cap="none" spc="0" normalizeH="0" baseline="0" noProof="0" dirty="0">
              <a:ln>
                <a:noFill/>
              </a:ln>
              <a:solidFill>
                <a:srgbClr val="7EC44E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AR" sz="1200" dirty="0">
              <a:solidFill>
                <a:srgbClr val="7EC44E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7EC44E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umplimiento del PSMV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2" name="CuadroTexto 141">
            <a:extLst>
              <a:ext uri="{FF2B5EF4-FFF2-40B4-BE49-F238E27FC236}">
                <a16:creationId xmlns:a16="http://schemas.microsoft.com/office/drawing/2014/main" id="{EA1E8E28-B7D2-06FB-EC63-8775AC22A010}"/>
              </a:ext>
            </a:extLst>
          </p:cNvPr>
          <p:cNvSpPr txBox="1"/>
          <p:nvPr/>
        </p:nvSpPr>
        <p:spPr>
          <a:xfrm>
            <a:off x="5973372" y="5803049"/>
            <a:ext cx="207889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AR" sz="1200" b="0" i="0" u="none" strike="noStrike" kern="1200" cap="none" spc="0" normalizeH="0" baseline="0" noProof="0" dirty="0">
                <a:ln>
                  <a:noFill/>
                </a:ln>
                <a:solidFill>
                  <a:srgbClr val="7EC44E">
                    <a:lumMod val="7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vance en la implementación del nuevo modelo de gobierno corporativo</a:t>
            </a:r>
          </a:p>
        </p:txBody>
      </p:sp>
      <p:sp>
        <p:nvSpPr>
          <p:cNvPr id="86" name="Rounded Rectangle 24">
            <a:extLst>
              <a:ext uri="{FF2B5EF4-FFF2-40B4-BE49-F238E27FC236}">
                <a16:creationId xmlns:a16="http://schemas.microsoft.com/office/drawing/2014/main" id="{62898A72-2DB5-36B4-F7A6-2396538C5080}"/>
              </a:ext>
            </a:extLst>
          </p:cNvPr>
          <p:cNvSpPr/>
          <p:nvPr/>
        </p:nvSpPr>
        <p:spPr>
          <a:xfrm>
            <a:off x="538198" y="1922879"/>
            <a:ext cx="1774624" cy="515784"/>
          </a:xfrm>
          <a:prstGeom prst="roundRect">
            <a:avLst>
              <a:gd name="adj" fmla="val 50000"/>
            </a:avLst>
          </a:prstGeom>
          <a:solidFill>
            <a:srgbClr val="843C0C"/>
          </a:solidFill>
          <a:ln>
            <a:solidFill>
              <a:srgbClr val="843C0C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48201" tIns="48201" rIns="48201" bIns="48201" numCol="1" spcCol="1270" anchor="ctr" anchorCtr="0">
            <a:noAutofit/>
          </a:bodyPr>
          <a:lstStyle/>
          <a:p>
            <a:pPr marL="0" marR="0" lvl="0" indent="0" algn="ctr" defTabSz="9482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CCESO AL SERVICIO</a:t>
            </a:r>
          </a:p>
        </p:txBody>
      </p:sp>
      <p:cxnSp>
        <p:nvCxnSpPr>
          <p:cNvPr id="87" name="Elbow Connector 34">
            <a:extLst>
              <a:ext uri="{FF2B5EF4-FFF2-40B4-BE49-F238E27FC236}">
                <a16:creationId xmlns:a16="http://schemas.microsoft.com/office/drawing/2014/main" id="{0A0B86F1-2C37-D7B0-95DA-2515F56A9639}"/>
              </a:ext>
            </a:extLst>
          </p:cNvPr>
          <p:cNvCxnSpPr>
            <a:cxnSpLocks/>
            <a:stCxn id="86" idx="3"/>
            <a:endCxn id="88" idx="2"/>
          </p:cNvCxnSpPr>
          <p:nvPr/>
        </p:nvCxnSpPr>
        <p:spPr>
          <a:xfrm>
            <a:off x="2312822" y="2180771"/>
            <a:ext cx="387997" cy="1131"/>
          </a:xfrm>
          <a:prstGeom prst="bentConnector3">
            <a:avLst/>
          </a:prstGeom>
          <a:ln w="3175" cmpd="sng">
            <a:solidFill>
              <a:srgbClr val="843C0C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8" name="Freeform 46">
            <a:extLst>
              <a:ext uri="{FF2B5EF4-FFF2-40B4-BE49-F238E27FC236}">
                <a16:creationId xmlns:a16="http://schemas.microsoft.com/office/drawing/2014/main" id="{C280412F-79C9-A54C-356F-5BE30D76BD7D}"/>
              </a:ext>
            </a:extLst>
          </p:cNvPr>
          <p:cNvSpPr/>
          <p:nvPr/>
        </p:nvSpPr>
        <p:spPr>
          <a:xfrm rot="10800000" flipV="1">
            <a:off x="2700819" y="1963826"/>
            <a:ext cx="438395" cy="436152"/>
          </a:xfrm>
          <a:custGeom>
            <a:avLst/>
            <a:gdLst>
              <a:gd name="connsiteX0" fmla="*/ 0 w 1346941"/>
              <a:gd name="connsiteY0" fmla="*/ 670031 h 1340062"/>
              <a:gd name="connsiteX1" fmla="*/ 673471 w 1346941"/>
              <a:gd name="connsiteY1" fmla="*/ 0 h 1340062"/>
              <a:gd name="connsiteX2" fmla="*/ 1346942 w 1346941"/>
              <a:gd name="connsiteY2" fmla="*/ 670031 h 1340062"/>
              <a:gd name="connsiteX3" fmla="*/ 673471 w 1346941"/>
              <a:gd name="connsiteY3" fmla="*/ 1340062 h 1340062"/>
              <a:gd name="connsiteX4" fmla="*/ 0 w 1346941"/>
              <a:gd name="connsiteY4" fmla="*/ 670031 h 134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6941" h="1340062">
                <a:moveTo>
                  <a:pt x="0" y="670031"/>
                </a:moveTo>
                <a:cubicBezTo>
                  <a:pt x="0" y="299983"/>
                  <a:pt x="301523" y="0"/>
                  <a:pt x="673471" y="0"/>
                </a:cubicBezTo>
                <a:cubicBezTo>
                  <a:pt x="1045419" y="0"/>
                  <a:pt x="1346942" y="299983"/>
                  <a:pt x="1346942" y="670031"/>
                </a:cubicBezTo>
                <a:cubicBezTo>
                  <a:pt x="1346942" y="1040079"/>
                  <a:pt x="1045419" y="1340062"/>
                  <a:pt x="673471" y="1340062"/>
                </a:cubicBezTo>
                <a:cubicBezTo>
                  <a:pt x="301523" y="1340062"/>
                  <a:pt x="0" y="1040079"/>
                  <a:pt x="0" y="670031"/>
                </a:cubicBezTo>
                <a:close/>
              </a:path>
            </a:pathLst>
          </a:custGeom>
          <a:solidFill>
            <a:srgbClr val="843C0C"/>
          </a:solidFill>
          <a:ln>
            <a:solidFill>
              <a:srgbClr val="843C0C"/>
            </a:solidFill>
          </a:ln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none" lIns="276553" tIns="275211" rIns="276553" bIns="275211" numCol="1" spcCol="1270" anchor="ctr" anchorCtr="0">
            <a:noAutofit/>
          </a:bodyPr>
          <a:lstStyle/>
          <a:p>
            <a:pPr marL="0" marR="0" lvl="0" indent="0" algn="ctr" defTabSz="94824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89" name="CuadroTexto 88">
            <a:extLst>
              <a:ext uri="{FF2B5EF4-FFF2-40B4-BE49-F238E27FC236}">
                <a16:creationId xmlns:a16="http://schemas.microsoft.com/office/drawing/2014/main" id="{EAF67BF9-872E-2822-FE4A-E0C4719E7866}"/>
              </a:ext>
            </a:extLst>
          </p:cNvPr>
          <p:cNvSpPr txBox="1"/>
          <p:nvPr/>
        </p:nvSpPr>
        <p:spPr>
          <a:xfrm>
            <a:off x="2989868" y="1970530"/>
            <a:ext cx="2709009" cy="513987"/>
          </a:xfrm>
          <a:prstGeom prst="rect">
            <a:avLst/>
          </a:prstGeom>
        </p:spPr>
        <p:txBody>
          <a:bodyPr wrap="square" lIns="243840" rIns="243840" bIns="97536">
            <a:spAutoFit/>
          </a:bodyPr>
          <a:lstStyle>
            <a:defPPr>
              <a:defRPr lang="es-AR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l"/>
            <a:r>
              <a:rPr lang="es-ES" dirty="0">
                <a:solidFill>
                  <a:srgbClr val="843C0C"/>
                </a:solidFill>
              </a:rPr>
              <a:t>Garantizar el acceso al servicio de alcantarillado</a:t>
            </a:r>
            <a:endParaRPr lang="es-AR" dirty="0">
              <a:solidFill>
                <a:srgbClr val="843C0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38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" dur="500"/>
                                            <p:tgtEl>
                                              <p:spTgt spid="18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0" dur="500"/>
                                            <p:tgtEl>
                                              <p:spTgt spid="1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11" fill="hold">
                          <p:stCondLst>
                            <p:cond delay="indefinite"/>
                          </p:stCondLst>
                          <p:childTnLst>
                            <p:par>
                              <p:cTn id="1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3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5" dur="500"/>
                                            <p:tgtEl>
                                              <p:spTgt spid="18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6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8" dur="500"/>
                                            <p:tgtEl>
                                              <p:spTgt spid="18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9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1" dur="500"/>
                                            <p:tgtEl>
                                              <p:spTgt spid="18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22" fill="hold">
                          <p:stCondLst>
                            <p:cond delay="indefinite"/>
                          </p:stCondLst>
                          <p:childTnLst>
                            <p:par>
                              <p:cTn id="23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24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6" dur="500"/>
                                            <p:tgtEl>
                                              <p:spTgt spid="19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7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29" dur="500"/>
                                            <p:tgtEl>
                                              <p:spTgt spid="18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0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2" dur="500"/>
                                            <p:tgtEl>
                                              <p:spTgt spid="18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33" fill="hold">
                          <p:stCondLst>
                            <p:cond delay="indefinite"/>
                          </p:stCondLst>
                          <p:childTnLst>
                            <p:par>
                              <p:cTn id="3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35" presetID="2" presetClass="entr" presetSubtype="1" fill="hold" grpId="0" nodeType="clickEffect" p14:presetBounceEnd="61111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1111">
                                          <p:cBhvr additive="base">
                                            <p:cTn id="37" dur="900" fill="hold"/>
                                            <p:tgtEl>
                                              <p:spTgt spid="20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1111">
                                          <p:cBhvr additive="base">
                                            <p:cTn id="38" dur="900" fill="hold"/>
                                            <p:tgtEl>
                                              <p:spTgt spid="20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9" presetID="2" presetClass="entr" presetSubtype="1" fill="hold" grpId="0" nodeType="withEffect" p14:presetBounceEnd="61111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1111">
                                          <p:cBhvr additive="base">
                                            <p:cTn id="41" dur="900" fill="hold"/>
                                            <p:tgtEl>
                                              <p:spTgt spid="20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1111">
                                          <p:cBhvr additive="base">
                                            <p:cTn id="42" dur="900" fill="hold"/>
                                            <p:tgtEl>
                                              <p:spTgt spid="20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3" presetID="2" presetClass="entr" presetSubtype="1" fill="hold" nodeType="withEffect" p14:presetBounceEnd="61111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61111">
                                          <p:cBhvr additive="base">
                                            <p:cTn id="45" dur="900" fill="hold"/>
                                            <p:tgtEl>
                                              <p:spTgt spid="20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61111">
                                          <p:cBhvr additive="base">
                                            <p:cTn id="46" dur="900" fill="hold"/>
                                            <p:tgtEl>
                                              <p:spTgt spid="20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7" fill="hold">
                                <p:stCondLst>
                                  <p:cond delay="900"/>
                                </p:stCondLst>
                                <p:childTnLst>
                                  <p:par>
                                    <p:cTn id="48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50" dur="300"/>
                                            <p:tgtEl>
                                              <p:spTgt spid="20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1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500"/>
                                            <p:tgtEl>
                                              <p:spTgt spid="2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04" grpId="0" animBg="1"/>
          <p:bldP spid="205" grpId="0" animBg="1"/>
          <p:bldP spid="235" grpId="0"/>
          <p:bldP spid="183" grpId="0" animBg="1"/>
          <p:bldP spid="184" grpId="0" animBg="1"/>
          <p:bldP spid="185" grpId="0" animBg="1"/>
          <p:bldP spid="186" grpId="0" animBg="1"/>
          <p:bldP spid="187" grpId="0" animBg="1"/>
          <p:bldP spid="188" grpId="0" animBg="1"/>
          <p:bldP spid="189" grpId="0" animBg="1"/>
          <p:bldP spid="190" grpId="0" animBg="1"/>
          <p:bldP spid="206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52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300" fill="hold"/>
                                            <p:tgtEl>
                                              <p:spTgt spid="9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300" fill="hold"/>
                                            <p:tgtEl>
                                              <p:spTgt spid="9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300"/>
                                            <p:tgtEl>
                                              <p:spTgt spid="90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0" dur="300" fill="hold"/>
                                            <p:tgtEl>
                                              <p:spTgt spid="9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1" dur="300" fill="hold"/>
                                            <p:tgtEl>
                                              <p:spTgt spid="9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2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4" dur="300"/>
                                            <p:tgtEl>
                                              <p:spTgt spid="10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300"/>
                                            <p:tgtEl>
                                              <p:spTgt spid="10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53" presetClass="entr" presetSubtype="528" fill="hold" grpId="0" nodeType="withEffect">
                                      <p:stCondLst>
                                        <p:cond delay="6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0" dur="300" fill="hold"/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300" fill="hold"/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300"/>
                                            <p:tgtEl>
                                              <p:spTgt spid="91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23" dur="300" fill="hold"/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4" dur="300" fill="hold"/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7" dur="300"/>
                                            <p:tgtEl>
                                              <p:spTgt spid="10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0" presetClass="entr" presetSubtype="0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300"/>
                                            <p:tgtEl>
                                              <p:spTgt spid="10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53" presetClass="entr" presetSubtype="528" fill="hold" grpId="0" nodeType="withEffect">
                                      <p:stCondLst>
                                        <p:cond delay="90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3" dur="300" fill="hold"/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4" dur="300" fill="hold"/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5" dur="300"/>
                                            <p:tgtEl>
                                              <p:spTgt spid="89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36" dur="300" fill="hold"/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300" fill="hold"/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8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0" dur="300"/>
                                            <p:tgtEl>
                                              <p:spTgt spid="10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10" presetClass="entr" presetSubtype="0" fill="hold" grpId="0" nodeType="withEffect">
                                      <p:stCondLst>
                                        <p:cond delay="120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3" dur="300"/>
                                            <p:tgtEl>
                                              <p:spTgt spid="1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53" presetClass="entr" presetSubtype="528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6" dur="300" fill="hold"/>
                                            <p:tgtEl>
                                              <p:spTgt spid="8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7" dur="300" fill="hold"/>
                                            <p:tgtEl>
                                              <p:spTgt spid="8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8" dur="300"/>
                                            <p:tgtEl>
                                              <p:spTgt spid="88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9" dur="300" fill="hold"/>
                                            <p:tgtEl>
                                              <p:spTgt spid="8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0" dur="300" fill="hold"/>
                                            <p:tgtEl>
                                              <p:spTgt spid="8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.5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1" presetID="10" presetClass="entr" presetSubtype="0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5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3" dur="300"/>
                                            <p:tgtEl>
                                              <p:spTgt spid="10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10" presetClass="entr" presetSubtype="0" fill="hold" grpId="0" nodeType="withEffect">
                                      <p:stCondLst>
                                        <p:cond delay="180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6" dur="300"/>
                                            <p:tgtEl>
                                              <p:spTgt spid="10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7" presetID="10" presetClass="entr" presetSubtype="0" fill="hold" grpId="0" nodeType="withEffect">
                                      <p:stCondLst>
                                        <p:cond delay="800"/>
                                      </p:stCondLst>
                                      <p:childTnLst>
                                        <p:set>
                                          <p:cBhvr>
                                            <p:cTn id="5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9" dur="250"/>
                                            <p:tgtEl>
                                              <p:spTgt spid="19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60" fill="hold">
                          <p:stCondLst>
                            <p:cond delay="indefinite"/>
                          </p:stCondLst>
                          <p:childTnLst>
                            <p:par>
                              <p:cTn id="6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62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4" dur="500"/>
                                            <p:tgtEl>
                                              <p:spTgt spid="18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5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7" dur="500"/>
                                            <p:tgtEl>
                                              <p:spTgt spid="18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68" fill="hold">
                          <p:stCondLst>
                            <p:cond delay="indefinite"/>
                          </p:stCondLst>
                          <p:childTnLst>
                            <p:par>
                              <p:cTn id="69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70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2" dur="500"/>
                                            <p:tgtEl>
                                              <p:spTgt spid="18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3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5" dur="500"/>
                                            <p:tgtEl>
                                              <p:spTgt spid="18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76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8" dur="500"/>
                                            <p:tgtEl>
                                              <p:spTgt spid="18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79" fill="hold">
                          <p:stCondLst>
                            <p:cond delay="indefinite"/>
                          </p:stCondLst>
                          <p:childTnLst>
                            <p:par>
                              <p:cTn id="8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81" presetID="22" presetClass="entr" presetSubtype="8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83" dur="500"/>
                                            <p:tgtEl>
                                              <p:spTgt spid="19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4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86" dur="500"/>
                                            <p:tgtEl>
                                              <p:spTgt spid="18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87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89" dur="500"/>
                                            <p:tgtEl>
                                              <p:spTgt spid="18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0" fill="hold">
                          <p:stCondLst>
                            <p:cond delay="indefinite"/>
                          </p:stCondLst>
                          <p:childTnLst>
                            <p:par>
                              <p:cTn id="91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92" presetID="2" presetClass="entr" presetSubtype="1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4" dur="900" fill="hold"/>
                                            <p:tgtEl>
                                              <p:spTgt spid="20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5" dur="900" fill="hold"/>
                                            <p:tgtEl>
                                              <p:spTgt spid="20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6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9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98" dur="900" fill="hold"/>
                                            <p:tgtEl>
                                              <p:spTgt spid="20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99" dur="900" fill="hold"/>
                                            <p:tgtEl>
                                              <p:spTgt spid="20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0" presetID="2" presetClass="entr" presetSubtype="1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02" dur="900" fill="hold"/>
                                            <p:tgtEl>
                                              <p:spTgt spid="20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03" dur="900" fill="hold"/>
                                            <p:tgtEl>
                                              <p:spTgt spid="20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4" fill="hold">
                                <p:stCondLst>
                                  <p:cond delay="900"/>
                                </p:stCondLst>
                                <p:childTnLst>
                                  <p:par>
                                    <p:cTn id="105" presetID="2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down)">
                                          <p:cBhvr>
                                            <p:cTn id="107" dur="300"/>
                                            <p:tgtEl>
                                              <p:spTgt spid="20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8" presetID="10" presetClass="entr" presetSubtype="0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10" dur="500"/>
                                            <p:tgtEl>
                                              <p:spTgt spid="23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04" grpId="0" animBg="1"/>
          <p:bldP spid="205" grpId="0" animBg="1"/>
          <p:bldP spid="235" grpId="0"/>
          <p:bldP spid="91" grpId="0" animBg="1"/>
          <p:bldP spid="88" grpId="0" animBg="1"/>
          <p:bldP spid="89" grpId="0" animBg="1"/>
          <p:bldP spid="90" grpId="0" animBg="1"/>
          <p:bldP spid="103" grpId="0"/>
          <p:bldP spid="104" grpId="0" animBg="1"/>
          <p:bldP spid="105" grpId="0"/>
          <p:bldP spid="106" grpId="0" animBg="1"/>
          <p:bldP spid="107" grpId="0"/>
          <p:bldP spid="108" grpId="0"/>
          <p:bldP spid="109" grpId="0" animBg="1"/>
          <p:bldP spid="110" grpId="0" animBg="1"/>
          <p:bldP spid="183" grpId="0" animBg="1"/>
          <p:bldP spid="184" grpId="0" animBg="1"/>
          <p:bldP spid="185" grpId="0" animBg="1"/>
          <p:bldP spid="186" grpId="0" animBg="1"/>
          <p:bldP spid="187" grpId="0" animBg="1"/>
          <p:bldP spid="188" grpId="0" animBg="1"/>
          <p:bldP spid="189" grpId="0" animBg="1"/>
          <p:bldP spid="190" grpId="0" animBg="1"/>
          <p:bldP spid="197" grpId="0" animBg="1"/>
          <p:bldP spid="206" grpId="0" animBg="1"/>
        </p:bldLst>
      </p:timing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cLatam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Latam" id="{990EEA7B-06BF-FC4D-9952-2C9314DDC97A}" vid="{A58BBB85-5524-CB43-BF7B-5E79980CC4C0}"/>
    </a:ext>
  </a:extLst>
</a:theme>
</file>

<file path=ppt/theme/theme2.xml><?xml version="1.0" encoding="utf-8"?>
<a:theme xmlns:a="http://schemas.openxmlformats.org/drawingml/2006/main" name="Ocean - 16x9">
  <a:themeElements>
    <a:clrScheme name="i9_Blue Lime Dark">
      <a:dk1>
        <a:srgbClr val="FFFFFF"/>
      </a:dk1>
      <a:lt1>
        <a:srgbClr val="2B2B2D"/>
      </a:lt1>
      <a:dk2>
        <a:srgbClr val="8DC928"/>
      </a:dk2>
      <a:lt2>
        <a:srgbClr val="ABD22A"/>
      </a:lt2>
      <a:accent1>
        <a:srgbClr val="2099D8"/>
      </a:accent1>
      <a:accent2>
        <a:srgbClr val="239CCE"/>
      </a:accent2>
      <a:accent3>
        <a:srgbClr val="27A6C2"/>
      </a:accent3>
      <a:accent4>
        <a:srgbClr val="25B7AB"/>
      </a:accent4>
      <a:accent5>
        <a:srgbClr val="5BBE77"/>
      </a:accent5>
      <a:accent6>
        <a:srgbClr val="7EC44E"/>
      </a:accent6>
      <a:hlink>
        <a:srgbClr val="2F8299"/>
      </a:hlink>
      <a:folHlink>
        <a:srgbClr val="8C8C8C"/>
      </a:folHlink>
    </a:clrScheme>
    <a:fontScheme name="Custom 3">
      <a:majorFont>
        <a:latin typeface="Open Sans Light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6D925D3B-8A2A-0448-A439-F0ED1CB23924}">
  <we:reference id="wa104381063" version="1.0.0.0" store="es-ES" storeType="OMEX"/>
  <we:alternateReferences>
    <we:reference id="wa104381063" version="1.0.0.0" store="WA104381063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FAF905F9E6AD4DB9134E3420587CC8" ma:contentTypeVersion="15" ma:contentTypeDescription="Create a new document." ma:contentTypeScope="" ma:versionID="20bddf62ad01aff9c768c6e9ae77beb8">
  <xsd:schema xmlns:xsd="http://www.w3.org/2001/XMLSchema" xmlns:xs="http://www.w3.org/2001/XMLSchema" xmlns:p="http://schemas.microsoft.com/office/2006/metadata/properties" xmlns:ns2="0d129538-f825-474a-9c7f-adb8b86f3a72" xmlns:ns3="6f02176d-b2b9-4285-9c3d-cacee5e198d4" targetNamespace="http://schemas.microsoft.com/office/2006/metadata/properties" ma:root="true" ma:fieldsID="8a36e5bcd94f7903b962afe966e82553" ns2:_="" ns3:_="">
    <xsd:import namespace="0d129538-f825-474a-9c7f-adb8b86f3a72"/>
    <xsd:import namespace="6f02176d-b2b9-4285-9c3d-cacee5e198d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129538-f825-474a-9c7f-adb8b86f3a7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ae61f9b1-e23d-4f49-b3d7-56b991556c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02176d-b2b9-4285-9c3d-cacee5e198d4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bd9a6bd8-6605-4ad5-aa47-55fe7bd04107}" ma:internalName="TaxCatchAll" ma:showField="CatchAllData" ma:web="6f02176d-b2b9-4285-9c3d-cacee5e198d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d129538-f825-474a-9c7f-adb8b86f3a72">
      <Terms xmlns="http://schemas.microsoft.com/office/infopath/2007/PartnerControls"/>
    </lcf76f155ced4ddcb4097134ff3c332f>
    <TaxCatchAll xmlns="6f02176d-b2b9-4285-9c3d-cacee5e198d4" xsi:nil="true"/>
  </documentManagement>
</p:properties>
</file>

<file path=customXml/itemProps1.xml><?xml version="1.0" encoding="utf-8"?>
<ds:datastoreItem xmlns:ds="http://schemas.openxmlformats.org/officeDocument/2006/customXml" ds:itemID="{6C71972B-E177-4CC0-80AB-5AB0D6DEBFD1}"/>
</file>

<file path=customXml/itemProps2.xml><?xml version="1.0" encoding="utf-8"?>
<ds:datastoreItem xmlns:ds="http://schemas.openxmlformats.org/officeDocument/2006/customXml" ds:itemID="{990D9E9D-DE0A-430A-80F4-C7E150F0408C}"/>
</file>

<file path=customXml/itemProps3.xml><?xml version="1.0" encoding="utf-8"?>
<ds:datastoreItem xmlns:ds="http://schemas.openxmlformats.org/officeDocument/2006/customXml" ds:itemID="{5B006E68-6E7C-4C67-BD81-10E5C7599A51}"/>
</file>

<file path=docProps/app.xml><?xml version="1.0" encoding="utf-8"?>
<Properties xmlns="http://schemas.openxmlformats.org/officeDocument/2006/extended-properties" xmlns:vt="http://schemas.openxmlformats.org/officeDocument/2006/docPropsVTypes">
  <Template>mcLatam</Template>
  <TotalTime>51850</TotalTime>
  <Words>759</Words>
  <Application>Microsoft Office PowerPoint</Application>
  <PresentationFormat>Panorámica</PresentationFormat>
  <Paragraphs>122</Paragraphs>
  <Slides>3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10" baseType="lpstr">
      <vt:lpstr>Arial</vt:lpstr>
      <vt:lpstr>Calibri</vt:lpstr>
      <vt:lpstr>Open Sans</vt:lpstr>
      <vt:lpstr>Open Sans Light</vt:lpstr>
      <vt:lpstr>mcLatam</vt:lpstr>
      <vt:lpstr>Ocean - 16x9</vt:lpstr>
      <vt:lpstr>think-cell Slide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tias Fourment</dc:creator>
  <cp:lastModifiedBy>Nicolás Gaspari</cp:lastModifiedBy>
  <cp:revision>588</cp:revision>
  <cp:lastPrinted>2018-08-15T04:06:22Z</cp:lastPrinted>
  <dcterms:created xsi:type="dcterms:W3CDTF">2018-07-30T15:40:45Z</dcterms:created>
  <dcterms:modified xsi:type="dcterms:W3CDTF">2022-06-29T18:4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FAF905F9E6AD4DB9134E3420587CC8</vt:lpwstr>
  </property>
</Properties>
</file>